
<file path=[Content_Types].xml><?xml version="1.0" encoding="utf-8"?>
<Types xmlns="http://schemas.openxmlformats.org/package/2006/content-types">
  <Default Extension="jpeg" ContentType="image/jpeg"/>
  <Default Extension="JPG" ContentType="image/.jpg"/>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706" r:id="rId3"/>
    <p:sldMasterId id="2147483713" r:id="rId4"/>
  </p:sldMasterIdLst>
  <p:notesMasterIdLst>
    <p:notesMasterId r:id="rId8"/>
  </p:notesMasterIdLst>
  <p:handoutMasterIdLst>
    <p:handoutMasterId r:id="rId48"/>
  </p:handoutMasterIdLst>
  <p:sldIdLst>
    <p:sldId id="339" r:id="rId5"/>
    <p:sldId id="380" r:id="rId6"/>
    <p:sldId id="299" r:id="rId7"/>
    <p:sldId id="300" r:id="rId9"/>
    <p:sldId id="301" r:id="rId10"/>
    <p:sldId id="302" r:id="rId11"/>
    <p:sldId id="303" r:id="rId12"/>
    <p:sldId id="304" r:id="rId13"/>
    <p:sldId id="305" r:id="rId14"/>
    <p:sldId id="306" r:id="rId15"/>
    <p:sldId id="307" r:id="rId16"/>
    <p:sldId id="308" r:id="rId17"/>
    <p:sldId id="309" r:id="rId18"/>
    <p:sldId id="310" r:id="rId19"/>
    <p:sldId id="311" r:id="rId20"/>
    <p:sldId id="312" r:id="rId21"/>
    <p:sldId id="313" r:id="rId22"/>
    <p:sldId id="314" r:id="rId23"/>
    <p:sldId id="315" r:id="rId24"/>
    <p:sldId id="316" r:id="rId25"/>
    <p:sldId id="317" r:id="rId26"/>
    <p:sldId id="318" r:id="rId27"/>
    <p:sldId id="319" r:id="rId28"/>
    <p:sldId id="320" r:id="rId29"/>
    <p:sldId id="321" r:id="rId30"/>
    <p:sldId id="322" r:id="rId31"/>
    <p:sldId id="323" r:id="rId32"/>
    <p:sldId id="324" r:id="rId33"/>
    <p:sldId id="325" r:id="rId34"/>
    <p:sldId id="326" r:id="rId35"/>
    <p:sldId id="327" r:id="rId36"/>
    <p:sldId id="328" r:id="rId37"/>
    <p:sldId id="329" r:id="rId38"/>
    <p:sldId id="330" r:id="rId39"/>
    <p:sldId id="331" r:id="rId40"/>
    <p:sldId id="332" r:id="rId41"/>
    <p:sldId id="333" r:id="rId42"/>
    <p:sldId id="334" r:id="rId43"/>
    <p:sldId id="335" r:id="rId44"/>
    <p:sldId id="336" r:id="rId45"/>
    <p:sldId id="337" r:id="rId46"/>
    <p:sldId id="382" r:id="rId47"/>
  </p:sldIdLst>
  <p:sldSz cx="12192000" cy="6858000"/>
  <p:notesSz cx="6858000" cy="9144000"/>
  <p:custDataLst>
    <p:tags r:id="rId5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2"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微软用户" initials="微" lastIdx="1" clrIdx="0"/>
  <p:cmAuthor id="2" name="作者" initials="作" lastIdx="0" clrIdx="1"/>
  <p:cmAuthor id="3" name="幸全" initials="幸" lastIdx="1" clrIdx="0"/>
  <p:cmAuthor id="4" name="CHEN Yanni" initials="CY"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B0F0"/>
    <a:srgbClr val="DCDCDC"/>
    <a:srgbClr val="F0F0F0"/>
    <a:srgbClr val="E6E6E6"/>
    <a:srgbClr val="C8C8C8"/>
    <a:srgbClr val="FFFFFF"/>
    <a:srgbClr val="FAFAFA"/>
    <a:srgbClr val="BEBE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778" autoAdjust="0"/>
    <p:restoredTop sz="93438" autoAdjust="0"/>
  </p:normalViewPr>
  <p:slideViewPr>
    <p:cSldViewPr snapToGrid="0" showGuides="1">
      <p:cViewPr varScale="1">
        <p:scale>
          <a:sx n="59" d="100"/>
          <a:sy n="59" d="100"/>
        </p:scale>
        <p:origin x="1008" y="52"/>
      </p:cViewPr>
      <p:guideLst>
        <p:guide orient="horz" pos="2162"/>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4.xml"/><Relationship Id="rId8" Type="http://schemas.openxmlformats.org/officeDocument/2006/relationships/notesMaster" Target="notesMasters/notesMaster1.xml"/><Relationship Id="rId7" Type="http://schemas.openxmlformats.org/officeDocument/2006/relationships/slide" Target="slides/slide3.xml"/><Relationship Id="rId6" Type="http://schemas.openxmlformats.org/officeDocument/2006/relationships/slide" Target="slides/slide2.xml"/><Relationship Id="rId53" Type="http://schemas.openxmlformats.org/officeDocument/2006/relationships/tags" Target="tags/tag824.xml"/><Relationship Id="rId52" Type="http://schemas.openxmlformats.org/officeDocument/2006/relationships/commentAuthors" Target="commentAuthors.xml"/><Relationship Id="rId51" Type="http://schemas.openxmlformats.org/officeDocument/2006/relationships/tableStyles" Target="tableStyles.xml"/><Relationship Id="rId50" Type="http://schemas.openxmlformats.org/officeDocument/2006/relationships/viewProps" Target="viewProps.xml"/><Relationship Id="rId5" Type="http://schemas.openxmlformats.org/officeDocument/2006/relationships/slide" Target="slides/slide1.xml"/><Relationship Id="rId49" Type="http://schemas.openxmlformats.org/officeDocument/2006/relationships/presProps" Target="presProps.xml"/><Relationship Id="rId48" Type="http://schemas.openxmlformats.org/officeDocument/2006/relationships/handoutMaster" Target="handoutMasters/handoutMaster1.xml"/><Relationship Id="rId47" Type="http://schemas.openxmlformats.org/officeDocument/2006/relationships/slide" Target="slides/slide42.xml"/><Relationship Id="rId46" Type="http://schemas.openxmlformats.org/officeDocument/2006/relationships/slide" Target="slides/slide41.xml"/><Relationship Id="rId45" Type="http://schemas.openxmlformats.org/officeDocument/2006/relationships/slide" Target="slides/slide40.xml"/><Relationship Id="rId44" Type="http://schemas.openxmlformats.org/officeDocument/2006/relationships/slide" Target="slides/slide39.xml"/><Relationship Id="rId43" Type="http://schemas.openxmlformats.org/officeDocument/2006/relationships/slide" Target="slides/slide38.xml"/><Relationship Id="rId42" Type="http://schemas.openxmlformats.org/officeDocument/2006/relationships/slide" Target="slides/slide37.xml"/><Relationship Id="rId41" Type="http://schemas.openxmlformats.org/officeDocument/2006/relationships/slide" Target="slides/slide36.xml"/><Relationship Id="rId40" Type="http://schemas.openxmlformats.org/officeDocument/2006/relationships/slide" Target="slides/slide35.xml"/><Relationship Id="rId4" Type="http://schemas.openxmlformats.org/officeDocument/2006/relationships/slideMaster" Target="slideMasters/slideMaster3.xml"/><Relationship Id="rId39" Type="http://schemas.openxmlformats.org/officeDocument/2006/relationships/slide" Target="slides/slide34.xml"/><Relationship Id="rId38" Type="http://schemas.openxmlformats.org/officeDocument/2006/relationships/slide" Target="slides/slide33.xml"/><Relationship Id="rId37" Type="http://schemas.openxmlformats.org/officeDocument/2006/relationships/slide" Target="slides/slide32.xml"/><Relationship Id="rId36" Type="http://schemas.openxmlformats.org/officeDocument/2006/relationships/slide" Target="slides/slide31.xml"/><Relationship Id="rId35" Type="http://schemas.openxmlformats.org/officeDocument/2006/relationships/slide" Target="slides/slide30.xml"/><Relationship Id="rId34" Type="http://schemas.openxmlformats.org/officeDocument/2006/relationships/slide" Target="slides/slide29.xml"/><Relationship Id="rId33" Type="http://schemas.openxmlformats.org/officeDocument/2006/relationships/slide" Target="slides/slide28.xml"/><Relationship Id="rId32" Type="http://schemas.openxmlformats.org/officeDocument/2006/relationships/slide" Target="slides/slide27.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slide" Target="slides/slide21.xml"/><Relationship Id="rId25" Type="http://schemas.openxmlformats.org/officeDocument/2006/relationships/slide" Target="slides/slide20.xml"/><Relationship Id="rId24" Type="http://schemas.openxmlformats.org/officeDocument/2006/relationships/slide" Target="slides/slide19.xml"/><Relationship Id="rId23" Type="http://schemas.openxmlformats.org/officeDocument/2006/relationships/slide" Target="slides/slide18.xml"/><Relationship Id="rId22" Type="http://schemas.openxmlformats.org/officeDocument/2006/relationships/slide" Target="slides/slide17.xml"/><Relationship Id="rId21" Type="http://schemas.openxmlformats.org/officeDocument/2006/relationships/slide" Target="slides/slide16.xml"/><Relationship Id="rId20" Type="http://schemas.openxmlformats.org/officeDocument/2006/relationships/slide" Target="slides/slide15.xml"/><Relationship Id="rId2" Type="http://schemas.openxmlformats.org/officeDocument/2006/relationships/theme" Target="theme/theme1.xml"/><Relationship Id="rId19" Type="http://schemas.openxmlformats.org/officeDocument/2006/relationships/slide" Target="slides/slide14.xml"/><Relationship Id="rId18" Type="http://schemas.openxmlformats.org/officeDocument/2006/relationships/slide" Target="slides/slide13.xml"/><Relationship Id="rId17" Type="http://schemas.openxmlformats.org/officeDocument/2006/relationships/slide" Target="slides/slide12.xml"/><Relationship Id="rId16" Type="http://schemas.openxmlformats.org/officeDocument/2006/relationships/slide" Target="slides/slide11.xml"/><Relationship Id="rId15" Type="http://schemas.openxmlformats.org/officeDocument/2006/relationships/slide" Target="slides/slide10.xml"/><Relationship Id="rId14" Type="http://schemas.openxmlformats.org/officeDocument/2006/relationships/slide" Target="slides/slide9.xml"/><Relationship Id="rId13" Type="http://schemas.openxmlformats.org/officeDocument/2006/relationships/slide" Target="slides/slide8.xml"/><Relationship Id="rId12" Type="http://schemas.openxmlformats.org/officeDocument/2006/relationships/slide" Target="slides/slide7.xml"/><Relationship Id="rId11" Type="http://schemas.openxmlformats.org/officeDocument/2006/relationships/slide" Target="slides/slide6.xml"/><Relationship Id="rId10" Type="http://schemas.openxmlformats.org/officeDocument/2006/relationships/slide" Target="slides/slide5.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latin typeface="微软雅黑" panose="020B0503020204020204" charset="-122"/>
              <a:ea typeface="微软雅黑" panose="020B0503020204020204" charset="-122"/>
            </a:endParaRPr>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latin typeface="微软雅黑" panose="020B0503020204020204" charset="-122"/>
                <a:ea typeface="微软雅黑" panose="020B0503020204020204" charset="-122"/>
              </a:rPr>
            </a:fld>
            <a:endParaRPr lang="zh-CN" altLang="en-US">
              <a:latin typeface="微软雅黑" panose="020B0503020204020204" charset="-122"/>
              <a:ea typeface="微软雅黑" panose="020B0503020204020204" charset="-122"/>
            </a:endParaRPr>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latin typeface="微软雅黑" panose="020B0503020204020204" charset="-122"/>
              <a:ea typeface="微软雅黑" panose="020B0503020204020204" charset="-122"/>
            </a:endParaRPr>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latin typeface="微软雅黑" panose="020B0503020204020204" charset="-122"/>
                <a:ea typeface="微软雅黑" panose="020B0503020204020204" charset="-122"/>
              </a:rPr>
            </a:fld>
            <a:endParaRPr lang="zh-CN" altLang="en-US">
              <a:latin typeface="微软雅黑" panose="020B0503020204020204" charset="-122"/>
              <a:ea typeface="微软雅黑" panose="020B0503020204020204" charset="-122"/>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微软雅黑" panose="020B0503020204020204" charset="-122"/>
                <a:ea typeface="微软雅黑" panose="020B0503020204020204" charset="-122"/>
              </a:defRPr>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微软雅黑" panose="020B0503020204020204" charset="-122"/>
                <a:ea typeface="微软雅黑" panose="020B0503020204020204" charset="-122"/>
              </a:defRPr>
            </a:lvl1pPr>
          </a:lstStyle>
          <a:p>
            <a:fld id="{1AC49D05-6128-4D0D-A32A-06A5E73B386C}"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微软雅黑" panose="020B0503020204020204" charset="-122"/>
                <a:ea typeface="微软雅黑" panose="020B0503020204020204" charset="-122"/>
              </a:defRPr>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微软雅黑" panose="020B0503020204020204" charset="-122"/>
                <a:ea typeface="微软雅黑" panose="020B0503020204020204" charset="-122"/>
              </a:defRPr>
            </a:lvl1pPr>
          </a:lstStyle>
          <a:p>
            <a:fld id="{5849F42C-2DAE-424C-A4B8-3140182C3E9F}"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600" kern="1200">
        <a:solidFill>
          <a:schemeClr val="tx1"/>
        </a:solidFill>
        <a:latin typeface="微软雅黑" panose="020B0503020204020204" charset="-122"/>
        <a:ea typeface="微软雅黑" panose="020B0503020204020204" charset="-122"/>
        <a:cs typeface="+mn-cs"/>
      </a:defRPr>
    </a:lvl1pPr>
    <a:lvl2pPr marL="4572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2pPr>
    <a:lvl3pPr marL="9144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3pPr>
    <a:lvl4pPr marL="13716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4pPr>
    <a:lvl5pPr marL="1828800" algn="l" defTabSz="914400" rtl="0" eaLnBrk="1" latinLnBrk="0" hangingPunct="1">
      <a:defRPr sz="1200" kern="1200">
        <a:solidFill>
          <a:schemeClr val="tx1"/>
        </a:solidFill>
        <a:latin typeface="微软雅黑" panose="020B0503020204020204" charset="-122"/>
        <a:ea typeface="微软雅黑" panose="020B0503020204020204"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85D0DACE-38E0-42D2-9336-2B707D34BC6D}"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5" Type="http://schemas.openxmlformats.org/officeDocument/2006/relationships/image" Target="../media/image3.png"/><Relationship Id="rId4" Type="http://schemas.openxmlformats.org/officeDocument/2006/relationships/tags" Target="../tags/tag2.xml"/><Relationship Id="rId3" Type="http://schemas.openxmlformats.org/officeDocument/2006/relationships/image" Target="../media/image2.emf"/><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9" Type="http://schemas.openxmlformats.org/officeDocument/2006/relationships/image" Target="../media/image4.png"/><Relationship Id="rId8" Type="http://schemas.openxmlformats.org/officeDocument/2006/relationships/tags" Target="../tags/tag9.xml"/><Relationship Id="rId7" Type="http://schemas.openxmlformats.org/officeDocument/2006/relationships/tags" Target="../tags/tag8.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7" Type="http://schemas.openxmlformats.org/officeDocument/2006/relationships/image" Target="../media/image5.png"/><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7" Type="http://schemas.openxmlformats.org/officeDocument/2006/relationships/tags" Target="../tags/tag30.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9" Type="http://schemas.openxmlformats.org/officeDocument/2006/relationships/tags" Target="../tags/tag38.xml"/><Relationship Id="rId8" Type="http://schemas.openxmlformats.org/officeDocument/2006/relationships/tags" Target="../tags/tag37.xml"/><Relationship Id="rId7" Type="http://schemas.openxmlformats.org/officeDocument/2006/relationships/tags" Target="../tags/tag36.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5" Type="http://schemas.openxmlformats.org/officeDocument/2006/relationships/tags" Target="../tags/tag42.xml"/><Relationship Id="rId4" Type="http://schemas.openxmlformats.org/officeDocument/2006/relationships/tags" Target="../tags/tag41.xml"/><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ags" Target="../tags/tag43.xml"/><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7" Type="http://schemas.openxmlformats.org/officeDocument/2006/relationships/tags" Target="../tags/tag49.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6" Type="http://schemas.openxmlformats.org/officeDocument/2006/relationships/image" Target="../media/image6.jpeg"/><Relationship Id="rId5" Type="http://schemas.openxmlformats.org/officeDocument/2006/relationships/tags" Target="../tags/tag53.xml"/><Relationship Id="rId4" Type="http://schemas.openxmlformats.org/officeDocument/2006/relationships/tags" Target="../tags/tag52.xml"/><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5" Type="http://schemas.openxmlformats.org/officeDocument/2006/relationships/tags" Target="../tags/tag57.xml"/><Relationship Id="rId4" Type="http://schemas.openxmlformats.org/officeDocument/2006/relationships/tags" Target="../tags/tag56.xml"/><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1051040"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AD608D6B-5688-4B1B-816B-C8E80BFF8CDD}"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1"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标题和竖排文字">
    <p:spTree>
      <p:nvGrpSpPr>
        <p:cNvPr id="1" name=""/>
        <p:cNvGrpSpPr/>
        <p:nvPr/>
      </p:nvGrpSpPr>
      <p:grpSpPr>
        <a:xfrm>
          <a:off x="0" y="0"/>
          <a:ext cx="0" cy="0"/>
          <a:chOff x="0" y="0"/>
          <a:chExt cx="0" cy="0"/>
        </a:xfrm>
      </p:grpSpPr>
      <p:sp>
        <p:nvSpPr>
          <p:cNvPr id="1051046"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BF16079A-01F7-403F-A5A4-2406BB22D543}"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7"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垂直排列标题与文本">
    <p:spTree>
      <p:nvGrpSpPr>
        <p:cNvPr id="1" name=""/>
        <p:cNvGrpSpPr/>
        <p:nvPr/>
      </p:nvGrpSpPr>
      <p:grpSpPr>
        <a:xfrm>
          <a:off x="0" y="0"/>
          <a:ext cx="0" cy="0"/>
          <a:chOff x="0" y="0"/>
          <a:chExt cx="0" cy="0"/>
        </a:xfrm>
      </p:grpSpPr>
      <p:sp>
        <p:nvSpPr>
          <p:cNvPr id="1051036"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00E9E1B8-D0C0-42DE-B82B-0D9273CB657D}"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7"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Standard">
    <p:spTree>
      <p:nvGrpSpPr>
        <p:cNvPr id="1" name=""/>
        <p:cNvGrpSpPr/>
        <p:nvPr/>
      </p:nvGrpSpPr>
      <p:grpSpPr>
        <a:xfrm>
          <a:off x="0" y="0"/>
          <a:ext cx="0" cy="0"/>
          <a:chOff x="0" y="0"/>
          <a:chExt cx="0" cy="0"/>
        </a:xfrm>
      </p:grpSpPr>
      <p:pic>
        <p:nvPicPr>
          <p:cNvPr id="16386" name="图片 2"/>
          <p:cNvPicPr>
            <a:picLocks noChangeAspect="1"/>
          </p:cNvPicPr>
          <p:nvPr userDrawn="1"/>
        </p:nvPicPr>
        <p:blipFill>
          <a:blip r:embed="rId2"/>
          <a:srcRect l="53036" r="43750"/>
          <a:stretch>
            <a:fillRect/>
          </a:stretch>
        </p:blipFill>
        <p:spPr>
          <a:xfrm rot="5400000">
            <a:off x="5954713" y="620713"/>
            <a:ext cx="277812" cy="12192000"/>
          </a:xfrm>
          <a:prstGeom prst="rect">
            <a:avLst/>
          </a:prstGeom>
          <a:noFill/>
          <a:ln w="9525">
            <a:noFill/>
          </a:ln>
        </p:spPr>
      </p:pic>
    </p:spTree>
  </p:cSld>
  <p:clrMapOvr>
    <a:masterClrMapping/>
  </p:clrMapOvr>
  <mc:AlternateContent xmlns:mc="http://schemas.openxmlformats.org/markup-compatibility/2006">
    <mc:Choice xmlns:p14="http://schemas.microsoft.com/office/powerpoint/2010/main" Requires="p14">
      <p:transition spd="slow" p14:dur="1250" advClick="0" advTm="0">
        <p:random/>
      </p:transition>
    </mc:Choice>
    <mc:Fallback>
      <p:transition spd="slow" advClick="0" advTm="0">
        <p:random/>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k_headline + text">
    <p:spTree>
      <p:nvGrpSpPr>
        <p:cNvPr id="1" name=""/>
        <p:cNvGrpSpPr/>
        <p:nvPr/>
      </p:nvGrpSpPr>
      <p:grpSpPr>
        <a:xfrm>
          <a:off x="0" y="0"/>
          <a:ext cx="0" cy="0"/>
          <a:chOff x="0" y="0"/>
          <a:chExt cx="0" cy="0"/>
        </a:xfrm>
      </p:grpSpPr>
      <p:pic>
        <p:nvPicPr>
          <p:cNvPr id="17410" name="Object 8" hidden="1"/>
          <p:cNvPicPr>
            <a:picLocks noChangeAspect="1"/>
          </p:cNvPicPr>
          <p:nvPr userDrawn="1">
            <p:custDataLst>
              <p:tags r:id="rId2"/>
            </p:custDataLst>
          </p:nvPr>
        </p:nvPicPr>
        <p:blipFill>
          <a:blip r:embed="rId3"/>
          <a:stretch>
            <a:fillRect/>
          </a:stretch>
        </p:blipFill>
        <p:spPr>
          <a:xfrm>
            <a:off x="1588" y="1588"/>
            <a:ext cx="3175" cy="1587"/>
          </a:xfrm>
          <a:prstGeom prst="rect">
            <a:avLst/>
          </a:prstGeom>
          <a:noFill/>
          <a:ln w="6350">
            <a:noFill/>
          </a:ln>
        </p:spPr>
      </p:pic>
      <p:sp>
        <p:nvSpPr>
          <p:cNvPr id="17411" name="TextBox 7"/>
          <p:cNvSpPr txBox="1"/>
          <p:nvPr userDrawn="1"/>
        </p:nvSpPr>
        <p:spPr>
          <a:xfrm>
            <a:off x="336550" y="6540500"/>
            <a:ext cx="334963" cy="112713"/>
          </a:xfrm>
          <a:prstGeom prst="rect">
            <a:avLst/>
          </a:prstGeom>
          <a:noFill/>
          <a:ln w="9525">
            <a:noFill/>
          </a:ln>
        </p:spPr>
        <p:txBody>
          <a:bodyPr wrap="none" lIns="0" tIns="0" rIns="0" bIns="0" anchor="b" anchorCtr="0"/>
          <a:lstStyle/>
          <a:p>
            <a:pPr lvl="0"/>
            <a:fld id="{9A0DB2DC-4C9A-4742-B13C-FB6460FD3503}" type="slidenum">
              <a:rPr lang="en-US" altLang="en-US" sz="800" dirty="0">
                <a:solidFill>
                  <a:srgbClr val="78879B"/>
                </a:solidFill>
                <a:latin typeface="微软雅黑" panose="020B0503020204020204" charset="-122"/>
              </a:rPr>
            </a:fld>
            <a:endParaRPr lang="en-US" altLang="en-US" sz="800" dirty="0">
              <a:solidFill>
                <a:srgbClr val="78879B"/>
              </a:solidFill>
              <a:latin typeface="微软雅黑" panose="020B0503020204020204" charset="-122"/>
            </a:endParaRPr>
          </a:p>
        </p:txBody>
      </p:sp>
      <p:pic>
        <p:nvPicPr>
          <p:cNvPr id="17412" name="Object 3" hidden="1"/>
          <p:cNvPicPr>
            <a:picLocks noChangeAspect="1"/>
          </p:cNvPicPr>
          <p:nvPr userDrawn="1">
            <p:custDataLst>
              <p:tags r:id="rId4"/>
            </p:custDataLst>
          </p:nvPr>
        </p:nvPicPr>
        <p:blipFill>
          <a:blip r:embed="rId3"/>
          <a:stretch>
            <a:fillRect/>
          </a:stretch>
        </p:blipFill>
        <p:spPr>
          <a:xfrm>
            <a:off x="1588" y="1588"/>
            <a:ext cx="3175" cy="1587"/>
          </a:xfrm>
          <a:prstGeom prst="rect">
            <a:avLst/>
          </a:prstGeom>
          <a:noFill/>
          <a:ln w="6350">
            <a:noFill/>
          </a:ln>
        </p:spPr>
      </p:pic>
      <p:sp>
        <p:nvSpPr>
          <p:cNvPr id="2" name="Title 1"/>
          <p:cNvSpPr>
            <a:spLocks noGrp="1"/>
          </p:cNvSpPr>
          <p:nvPr>
            <p:ph type="title"/>
          </p:nvPr>
        </p:nvSpPr>
        <p:spPr>
          <a:xfrm>
            <a:off x="336000" y="575912"/>
            <a:ext cx="11520000" cy="338555"/>
          </a:xfrm>
        </p:spPr>
        <p:txBody>
          <a:bodyPr/>
          <a:lstStyle>
            <a:lvl1pPr>
              <a:defRPr baseline="0">
                <a:cs typeface="微软雅黑" panose="020B0503020204020204" charset="-122"/>
              </a:defRPr>
            </a:lvl1pPr>
          </a:lstStyle>
          <a:p>
            <a:pPr fontAlgn="auto"/>
            <a:r>
              <a:rPr lang="zh-CN" altLang="en-US" sz="5865" strike="noStrike" noProof="1"/>
              <a:t>单击此处编辑母版标题样式</a:t>
            </a:r>
            <a:endParaRPr lang="en-US" strike="noStrike" noProof="1"/>
          </a:p>
        </p:txBody>
      </p:sp>
      <p:sp>
        <p:nvSpPr>
          <p:cNvPr id="3" name="Content Placeholder 2"/>
          <p:cNvSpPr>
            <a:spLocks noGrp="1"/>
          </p:cNvSpPr>
          <p:nvPr>
            <p:ph idx="1"/>
          </p:nvPr>
        </p:nvSpPr>
        <p:spPr/>
        <p:txBody>
          <a:bodyPr/>
          <a:lstStyle>
            <a:lvl1pPr>
              <a:defRPr>
                <a:cs typeface="微软雅黑" panose="020B0503020204020204" charset="-122"/>
              </a:defRPr>
            </a:lvl1pPr>
            <a:lvl2pPr>
              <a:defRPr>
                <a:cs typeface="微软雅黑" panose="020B0503020204020204" charset="-122"/>
              </a:defRPr>
            </a:lvl2pPr>
            <a:lvl3pPr>
              <a:defRPr>
                <a:cs typeface="微软雅黑" panose="020B0503020204020204" charset="-122"/>
              </a:defRPr>
            </a:lvl3pPr>
            <a:lvl4pPr>
              <a:defRPr>
                <a:cs typeface="微软雅黑" panose="020B0503020204020204" charset="-122"/>
              </a:defRPr>
            </a:lvl4pPr>
            <a:lvl5pPr>
              <a:defRPr>
                <a:cs typeface="微软雅黑" panose="020B0503020204020204" charset="-122"/>
              </a:defRPr>
            </a:lvl5pPr>
          </a:lstStyle>
          <a:p>
            <a:pPr lvl="0" fontAlgn="auto"/>
            <a:r>
              <a:rPr lang="en-US" altLang="zh-CN" sz="4265" strike="noStrike" noProof="1"/>
              <a:t>Click to edit Master text styles</a:t>
            </a:r>
            <a:endParaRPr lang="en-US" altLang="zh-CN" strike="noStrike" noProof="1"/>
          </a:p>
          <a:p>
            <a:pPr lvl="1" fontAlgn="auto"/>
            <a:r>
              <a:rPr lang="en-US" altLang="zh-CN" sz="3735" strike="noStrike" noProof="1"/>
              <a:t>Second level</a:t>
            </a:r>
            <a:endParaRPr lang="en-US" altLang="zh-CN" strike="noStrike" noProof="1"/>
          </a:p>
          <a:p>
            <a:pPr lvl="2" fontAlgn="auto"/>
            <a:r>
              <a:rPr lang="en-US" altLang="zh-CN" strike="noStrike" noProof="1"/>
              <a:t>Third level</a:t>
            </a:r>
            <a:endParaRPr lang="en-US" altLang="zh-CN" strike="noStrike" noProof="1"/>
          </a:p>
          <a:p>
            <a:pPr lvl="3" fontAlgn="auto"/>
            <a:r>
              <a:rPr lang="en-US" altLang="zh-CN" sz="2665" strike="noStrike" noProof="1"/>
              <a:t>Fourth level</a:t>
            </a:r>
            <a:endParaRPr lang="en-US" altLang="zh-CN" strike="noStrike" noProof="1"/>
          </a:p>
          <a:p>
            <a:pPr lvl="4" fontAlgn="auto"/>
            <a:r>
              <a:rPr lang="en-US" altLang="zh-CN" sz="2665" strike="noStrike" noProof="1"/>
              <a:t>Fifth level</a:t>
            </a:r>
            <a:endParaRPr lang="en-US" strike="noStrike" noProof="1"/>
          </a:p>
        </p:txBody>
      </p:sp>
      <p:sp>
        <p:nvSpPr>
          <p:cNvPr id="9" name="Text Placeholder 8"/>
          <p:cNvSpPr>
            <a:spLocks noGrp="1"/>
          </p:cNvSpPr>
          <p:nvPr>
            <p:ph type="body" sz="quarter" idx="11"/>
          </p:nvPr>
        </p:nvSpPr>
        <p:spPr>
          <a:xfrm>
            <a:off x="335999" y="6163200"/>
            <a:ext cx="10704000" cy="144000"/>
          </a:xfrm>
        </p:spPr>
        <p:txBody>
          <a:bodyPr anchor="b"/>
          <a:lstStyle>
            <a:lvl1pPr marL="0" indent="0">
              <a:lnSpc>
                <a:spcPct val="100000"/>
              </a:lnSpc>
              <a:spcBef>
                <a:spcPts val="0"/>
              </a:spcBef>
              <a:buNone/>
              <a:defRPr sz="800" baseline="0">
                <a:cs typeface="微软雅黑" panose="020B0503020204020204" charset="-122"/>
              </a:defRPr>
            </a:lvl1pPr>
          </a:lstStyle>
          <a:p>
            <a:pPr lvl="0" fontAlgn="auto"/>
            <a:r>
              <a:rPr lang="zh-CN" altLang="en-US" strike="noStrike" noProof="1"/>
              <a:t>单击此处编辑母版文本样式</a:t>
            </a:r>
            <a:endParaRPr lang="zh-CN" altLang="en-US" strike="noStrike" noProof="1"/>
          </a:p>
        </p:txBody>
      </p:sp>
      <p:sp>
        <p:nvSpPr>
          <p:cNvPr id="4" name="日期占位符 3"/>
          <p:cNvSpPr>
            <a:spLocks noGrp="1"/>
          </p:cNvSpPr>
          <p:nvPr>
            <p:ph type="dt" sz="half" idx="12"/>
          </p:nvPr>
        </p:nvSpPr>
        <p:spPr>
          <a:xfrm>
            <a:off x="838200" y="6356350"/>
            <a:ext cx="2743200" cy="365125"/>
          </a:xfrm>
          <a:prstGeom prst="rect">
            <a:avLst/>
          </a:prstGeom>
        </p:spPr>
        <p:txBody>
          <a:bodyPr vert="horz" lIns="91440" tIns="45720" rIns="91440" bIns="45720" rtlCol="0" anchor="ctr"/>
          <a:lstStyle>
            <a:lvl1pPr>
              <a:defRPr>
                <a:latin typeface="微软雅黑" panose="020B0503020204020204" charset="-122"/>
                <a:sym typeface="微软雅黑" panose="020B0503020204020204" charset="-122"/>
              </a:defRPr>
            </a:lvl1pPr>
          </a:lstStyle>
          <a:p>
            <a:pPr defTabSz="685800" fontAlgn="base">
              <a:spcBef>
                <a:spcPct val="0"/>
              </a:spcBef>
              <a:spcAft>
                <a:spcPct val="0"/>
              </a:spcAft>
              <a:defRPr/>
            </a:pPr>
            <a:endParaRPr lang="en-US" altLang="zh-CN" sz="1050" strike="noStrike" noProof="1">
              <a:solidFill>
                <a:schemeClr val="tx1"/>
              </a:solidFill>
            </a:endParaRPr>
          </a:p>
        </p:txBody>
      </p:sp>
      <p:sp>
        <p:nvSpPr>
          <p:cNvPr id="5" name="页脚占位符 4"/>
          <p:cNvSpPr>
            <a:spLocks noGrp="1"/>
          </p:cNvSpPr>
          <p:nvPr>
            <p:ph type="ftr" sz="quarter" idx="13"/>
          </p:nvPr>
        </p:nvSpPr>
        <p:spPr>
          <a:xfrm>
            <a:off x="0" y="0"/>
            <a:ext cx="0" cy="0"/>
          </a:xfrm>
        </p:spPr>
        <p:txBody>
          <a:bodyPr/>
          <a:lstStyle>
            <a:lvl1pPr>
              <a:defRPr>
                <a:latin typeface="微软雅黑" panose="020B0503020204020204" charset="-122"/>
                <a:cs typeface="微软雅黑" panose="020B0503020204020204" charset="-122"/>
                <a:sym typeface="微软雅黑" panose="020B0503020204020204" charset="-122"/>
              </a:defRPr>
            </a:lvl1pPr>
          </a:lstStyle>
          <a:p>
            <a:pPr algn="ctr" defTabSz="685800" fontAlgn="base">
              <a:spcBef>
                <a:spcPct val="0"/>
              </a:spcBef>
              <a:spcAft>
                <a:spcPct val="0"/>
              </a:spcAft>
              <a:defRPr/>
            </a:pPr>
            <a:endParaRPr lang="en-US" altLang="zh-CN" sz="1050" strike="noStrike" noProof="1"/>
          </a:p>
        </p:txBody>
      </p:sp>
      <p:sp>
        <p:nvSpPr>
          <p:cNvPr id="6" name="灯片编号占位符 5"/>
          <p:cNvSpPr>
            <a:spLocks noGrp="1"/>
          </p:cNvSpPr>
          <p:nvPr>
            <p:ph type="sldNum" sz="quarter" idx="14"/>
          </p:nvPr>
        </p:nvSpPr>
        <p:spPr>
          <a:xfrm>
            <a:off x="8610600" y="6356350"/>
            <a:ext cx="2743200" cy="365125"/>
          </a:xfrm>
        </p:spPr>
        <p:txBody>
          <a:bodyPr/>
          <a:lstStyle/>
          <a:p>
            <a:pPr lvl="0" eaLnBrk="1" fontAlgn="base" hangingPunct="1"/>
            <a:fld id="{9A0DB2DC-4C9A-4742-B13C-FB6460FD3503}" type="slidenum">
              <a:rPr lang="en-US" altLang="zh-CN" strike="noStrike" noProof="1" dirty="0">
                <a:latin typeface="微软雅黑" panose="020B0503020204020204" charset="-122"/>
                <a:ea typeface="微软雅黑" panose="020B0503020204020204" charset="-122"/>
                <a:cs typeface="+mn-cs"/>
              </a:rPr>
            </a:fld>
            <a:endParaRPr lang="en-US" altLang="zh-CN" strike="noStrike" noProof="1">
              <a:latin typeface="微软雅黑" panose="020B0503020204020204" charset="-122"/>
            </a:endParaRPr>
          </a:p>
        </p:txBody>
      </p:sp>
      <p:pic>
        <p:nvPicPr>
          <p:cNvPr id="8" name="图片 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Sld>
  <p:clrMapOvr>
    <a:masterClrMapping/>
  </p:clrMapOvr>
  <p:transition>
    <p:blinds dir="vert"/>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3_Custom Layout">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945080" y="1204123"/>
            <a:ext cx="5518720" cy="4122620"/>
          </a:xfrm>
          <a:custGeom>
            <a:avLst/>
            <a:gdLst>
              <a:gd name="connsiteX0" fmla="*/ 5388205 w 5518720"/>
              <a:gd name="connsiteY0" fmla="*/ 1205 h 2700715"/>
              <a:gd name="connsiteX1" fmla="*/ 4698360 w 5518720"/>
              <a:gd name="connsiteY1" fmla="*/ 2542104 h 2700715"/>
              <a:gd name="connsiteX2" fmla="*/ 2339041 w 5518720"/>
              <a:gd name="connsiteY2" fmla="*/ 1946133 h 2700715"/>
              <a:gd name="connsiteX3" fmla="*/ 905227 w 5518720"/>
              <a:gd name="connsiteY3" fmla="*/ 1696210 h 2700715"/>
              <a:gd name="connsiteX4" fmla="*/ 18084 w 5518720"/>
              <a:gd name="connsiteY4" fmla="*/ 1652954 h 2700715"/>
              <a:gd name="connsiteX5" fmla="*/ 3278932 w 5518720"/>
              <a:gd name="connsiteY5" fmla="*/ 427370 h 2700715"/>
              <a:gd name="connsiteX6" fmla="*/ 5312167 w 5518720"/>
              <a:gd name="connsiteY6" fmla="*/ 62097 h 2700715"/>
              <a:gd name="connsiteX7" fmla="*/ 5388205 w 5518720"/>
              <a:gd name="connsiteY7" fmla="*/ 1205 h 270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8720" h="2700715">
                <a:moveTo>
                  <a:pt x="5388205" y="1205"/>
                </a:moveTo>
                <a:cubicBezTo>
                  <a:pt x="5614781" y="62660"/>
                  <a:pt x="5637053" y="2454991"/>
                  <a:pt x="4698360" y="2542104"/>
                </a:cubicBezTo>
                <a:cubicBezTo>
                  <a:pt x="3662561" y="2638228"/>
                  <a:pt x="3183025" y="3061175"/>
                  <a:pt x="2339041" y="1946133"/>
                </a:cubicBezTo>
                <a:cubicBezTo>
                  <a:pt x="2339041" y="1946133"/>
                  <a:pt x="1691667" y="811867"/>
                  <a:pt x="905227" y="1696210"/>
                </a:cubicBezTo>
                <a:cubicBezTo>
                  <a:pt x="689435" y="2215281"/>
                  <a:pt x="229080" y="2782415"/>
                  <a:pt x="18084" y="1652954"/>
                </a:cubicBezTo>
                <a:cubicBezTo>
                  <a:pt x="-192912" y="523494"/>
                  <a:pt x="1475875" y="62097"/>
                  <a:pt x="3278932" y="427370"/>
                </a:cubicBezTo>
                <a:cubicBezTo>
                  <a:pt x="4679179" y="523494"/>
                  <a:pt x="5024445" y="581168"/>
                  <a:pt x="5312167" y="62097"/>
                </a:cubicBezTo>
                <a:cubicBezTo>
                  <a:pt x="5339141" y="13434"/>
                  <a:pt x="5364766" y="-5152"/>
                  <a:pt x="5388205" y="1205"/>
                </a:cubicBezTo>
                <a:close/>
              </a:path>
            </a:pathLst>
          </a:custGeom>
        </p:spPr>
        <p:txBody>
          <a:bodyPr wrap="square" anchor="ctr">
            <a:noAutofit/>
          </a:bodyPr>
          <a:lstStyle>
            <a:lvl1pPr marL="0" indent="0" algn="ctr">
              <a:buNone/>
              <a:defRPr sz="2400" b="1"/>
            </a:lvl1pPr>
          </a:lstStyle>
          <a:p>
            <a:pPr fontAlgn="auto"/>
            <a:r>
              <a:rPr lang="en-US" strike="noStrike" noProof="1"/>
              <a:t>Image Placeholder</a:t>
            </a:r>
            <a:endParaRPr 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250" advClick="0" advTm="0">
        <p:random/>
      </p:transition>
    </mc:Choice>
    <mc:Fallback>
      <p:transition spd="slow" advClick="0" advTm="0">
        <p:random/>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cs typeface="微软雅黑" panose="020B0503020204020204" charset="-122"/>
              </a:defRPr>
            </a:lvl1pPr>
          </a:lstStyle>
          <a:p>
            <a:pPr fontAlgn="auto"/>
            <a:r>
              <a:rPr lang="zh-CN" altLang="en-US" sz="5865" strike="noStrike" noProof="1"/>
              <a:t>单击此处编辑母版标题样式</a:t>
            </a:r>
            <a:endParaRPr lang="zh-CN" altLang="en-US" strike="noStrike" noProof="1"/>
          </a:p>
        </p:txBody>
      </p:sp>
      <p:sp>
        <p:nvSpPr>
          <p:cNvPr id="3" name="内容占位符 2"/>
          <p:cNvSpPr>
            <a:spLocks noGrp="1"/>
          </p:cNvSpPr>
          <p:nvPr>
            <p:ph idx="1"/>
          </p:nvPr>
        </p:nvSpPr>
        <p:spPr/>
        <p:txBody>
          <a:bodyPr/>
          <a:lstStyle>
            <a:lvl1pPr>
              <a:defRPr>
                <a:cs typeface="微软雅黑" panose="020B0503020204020204" charset="-122"/>
              </a:defRPr>
            </a:lvl1pPr>
            <a:lvl2pPr>
              <a:defRPr>
                <a:cs typeface="微软雅黑" panose="020B0503020204020204" charset="-122"/>
              </a:defRPr>
            </a:lvl2pPr>
            <a:lvl3pPr>
              <a:defRPr>
                <a:cs typeface="微软雅黑" panose="020B0503020204020204" charset="-122"/>
              </a:defRPr>
            </a:lvl3pPr>
            <a:lvl4pPr>
              <a:defRPr>
                <a:cs typeface="微软雅黑" panose="020B0503020204020204" charset="-122"/>
              </a:defRPr>
            </a:lvl4pPr>
            <a:lvl5pPr>
              <a:defRPr>
                <a:cs typeface="微软雅黑" panose="020B0503020204020204" charset="-122"/>
              </a:defRPr>
            </a:lvl5pPr>
          </a:lstStyle>
          <a:p>
            <a:pPr lvl="0" fontAlgn="auto"/>
            <a:r>
              <a:rPr lang="zh-CN" altLang="en-US" sz="4265" strike="noStrike" noProof="1"/>
              <a:t>单击此处编辑母版文本样式</a:t>
            </a:r>
            <a:endParaRPr lang="zh-CN" altLang="en-US" strike="noStrike" noProof="1"/>
          </a:p>
          <a:p>
            <a:pPr lvl="1" fontAlgn="auto"/>
            <a:r>
              <a:rPr lang="zh-CN" altLang="en-US" sz="3735"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z="2665" strike="noStrike" noProof="1"/>
              <a:t>第四级</a:t>
            </a:r>
            <a:endParaRPr lang="zh-CN" altLang="en-US" strike="noStrike" noProof="1"/>
          </a:p>
          <a:p>
            <a:pPr lvl="4" fontAlgn="auto"/>
            <a:r>
              <a:rPr lang="zh-CN" altLang="en-US" sz="2665" strike="noStrike" noProof="1"/>
              <a:t>第五级</a:t>
            </a:r>
            <a:endParaRPr lang="zh-CN" altLang="en-US" strike="noStrike" noProof="1"/>
          </a:p>
        </p:txBody>
      </p:sp>
      <p:sp>
        <p:nvSpPr>
          <p:cNvPr id="4" name="Rectangle 4"/>
          <p:cNvSpPr>
            <a:spLocks noGrp="1" noChangeArrowheads="1"/>
          </p:cNvSpPr>
          <p:nvPr>
            <p:ph type="dt" sz="half" idx="10"/>
          </p:nvPr>
        </p:nvSpPr>
        <p:spPr>
          <a:xfrm>
            <a:off x="82550" y="6403975"/>
            <a:ext cx="2844800" cy="365125"/>
          </a:xfrm>
          <a:prstGeom prst="rect">
            <a:avLst/>
          </a:prstGeom>
        </p:spPr>
        <p:txBody>
          <a:bodyPr vert="horz" lIns="91440" tIns="45720" rIns="91440" bIns="45720" rtlCol="0" anchor="ctr"/>
          <a:lstStyle>
            <a:lvl1pPr>
              <a:defRPr/>
            </a:lvl1pPr>
          </a:lstStyle>
          <a:p>
            <a:pPr fontAlgn="base">
              <a:defRPr/>
            </a:pPr>
            <a:endParaRPr lang="en-US" altLang="zh-CN" strike="noStrike" noProof="1"/>
          </a:p>
        </p:txBody>
      </p:sp>
      <p:sp>
        <p:nvSpPr>
          <p:cNvPr id="5" name="Rectangle 5"/>
          <p:cNvSpPr>
            <a:spLocks noGrp="1" noChangeArrowheads="1"/>
          </p:cNvSpPr>
          <p:nvPr>
            <p:ph type="ftr" sz="quarter" idx="11"/>
          </p:nvPr>
        </p:nvSpPr>
        <p:spPr>
          <a:xfrm>
            <a:off x="0" y="0"/>
            <a:ext cx="0" cy="0"/>
          </a:xfrm>
        </p:spPr>
        <p:txBody>
          <a:bodyPr/>
          <a:lstStyle>
            <a:lvl1pPr>
              <a:defRPr>
                <a:cs typeface="微软雅黑" panose="020B0503020204020204" charset="-122"/>
              </a:defRPr>
            </a:lvl1pPr>
          </a:lstStyle>
          <a:p>
            <a:pPr fontAlgn="base">
              <a:defRPr/>
            </a:pPr>
            <a:endParaRPr lang="en-US" altLang="zh-CN" strike="noStrike" noProof="1"/>
          </a:p>
        </p:txBody>
      </p:sp>
      <p:sp>
        <p:nvSpPr>
          <p:cNvPr id="6" name="Rectangle 6"/>
          <p:cNvSpPr>
            <a:spLocks noGrp="1" noChangeArrowheads="1"/>
          </p:cNvSpPr>
          <p:nvPr>
            <p:ph type="sldNum" sz="quarter" idx="12"/>
          </p:nvPr>
        </p:nvSpPr>
        <p:spPr>
          <a:xfrm>
            <a:off x="0" y="0"/>
            <a:ext cx="0" cy="0"/>
          </a:xfrm>
        </p:spPr>
        <p:txBody>
          <a:bodyPr/>
          <a:lstStyle>
            <a:lvl1pPr>
              <a:defRPr>
                <a:cs typeface="微软雅黑" panose="020B0503020204020204" charset="-122"/>
              </a:defRPr>
            </a:lvl1pPr>
          </a:lstStyle>
          <a:p>
            <a:pPr fontAlgn="base">
              <a:defRPr/>
            </a:pPr>
            <a:fld id="{B6709990-F4FA-4DFB-979B-F8A0F7706B5D}" type="slidenum">
              <a:rPr lang="en-US" altLang="zh-CN" strike="noStrike" noProof="1">
                <a:latin typeface="Arial" panose="020B0604020202020204" pitchFamily="34" charset="0"/>
                <a:ea typeface="微软雅黑" panose="020B0503020204020204" charset="-122"/>
                <a:cs typeface="微软雅黑" panose="020B0503020204020204" charset="-122"/>
              </a:rPr>
            </a:fld>
            <a:endParaRPr lang="en-US" altLang="zh-CN" strike="noStrike" noProof="1"/>
          </a:p>
        </p:txBody>
      </p:sp>
    </p:spTree>
  </p:cSld>
  <p:clrMapOvr>
    <a:masterClrMapping/>
  </p:clrMapOvr>
  <p:transition spd="slow">
    <p:randomBar dir="vert"/>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1_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cs typeface="微软雅黑" panose="020B0503020204020204" charset="-122"/>
              </a:defRPr>
            </a:lvl1pPr>
          </a:lstStyle>
          <a:p>
            <a:pPr fontAlgn="auto"/>
            <a:r>
              <a:rPr lang="zh-CN" altLang="en-US" sz="5865" strike="noStrike" noProof="1"/>
              <a:t>单击此处编辑母版标题样式</a:t>
            </a:r>
            <a:endParaRPr lang="zh-CN" altLang="en-US" strike="noStrike" noProof="1"/>
          </a:p>
        </p:txBody>
      </p:sp>
      <p:sp>
        <p:nvSpPr>
          <p:cNvPr id="3" name="内容占位符 2"/>
          <p:cNvSpPr>
            <a:spLocks noGrp="1"/>
          </p:cNvSpPr>
          <p:nvPr>
            <p:ph sz="half" idx="1"/>
          </p:nvPr>
        </p:nvSpPr>
        <p:spPr>
          <a:xfrm>
            <a:off x="406400" y="1981200"/>
            <a:ext cx="5592233" cy="3886200"/>
          </a:xfrm>
        </p:spPr>
        <p:txBody>
          <a:bodyPr/>
          <a:lstStyle>
            <a:lvl1pPr>
              <a:defRPr sz="2800">
                <a:cs typeface="微软雅黑" panose="020B0503020204020204" charset="-122"/>
              </a:defRPr>
            </a:lvl1pPr>
            <a:lvl2pPr>
              <a:defRPr sz="2400">
                <a:cs typeface="微软雅黑" panose="020B0503020204020204" charset="-122"/>
              </a:defRPr>
            </a:lvl2pPr>
            <a:lvl3pPr>
              <a:defRPr sz="2000">
                <a:cs typeface="微软雅黑" panose="020B0503020204020204" charset="-122"/>
              </a:defRPr>
            </a:lvl3pPr>
            <a:lvl4pPr>
              <a:defRPr sz="1800">
                <a:cs typeface="微软雅黑" panose="020B0503020204020204" charset="-122"/>
              </a:defRPr>
            </a:lvl4pPr>
            <a:lvl5pPr>
              <a:defRPr sz="1800">
                <a:cs typeface="微软雅黑" panose="020B0503020204020204" charset="-122"/>
              </a:defRPr>
            </a:lvl5pPr>
            <a:lvl6pPr>
              <a:defRPr sz="1800"/>
            </a:lvl6pPr>
            <a:lvl7pPr>
              <a:defRPr sz="1800"/>
            </a:lvl7pPr>
            <a:lvl8pPr>
              <a:defRPr sz="1800"/>
            </a:lvl8pPr>
            <a:lvl9pPr>
              <a:defRPr sz="1800"/>
            </a:lvl9pPr>
          </a:lstStyle>
          <a:p>
            <a:pPr lvl="0" fontAlgn="auto"/>
            <a:r>
              <a:rPr lang="zh-CN" altLang="en-US" strike="noStrike" noProof="1"/>
              <a:t>单击此处编辑母版文本样式</a:t>
            </a:r>
            <a:endParaRPr lang="zh-CN" altLang="en-US" strike="noStrike" noProof="1"/>
          </a:p>
          <a:p>
            <a:pPr lvl="1" fontAlgn="auto"/>
            <a:r>
              <a:rPr lang="zh-CN" altLang="en-US"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trike="noStrike" noProof="1"/>
              <a:t>第四级</a:t>
            </a:r>
            <a:endParaRPr lang="zh-CN" altLang="en-US" strike="noStrike" noProof="1"/>
          </a:p>
          <a:p>
            <a:pPr lvl="4" fontAlgn="auto"/>
            <a:r>
              <a:rPr lang="zh-CN" altLang="en-US" strike="noStrike" noProof="1"/>
              <a:t>第五级</a:t>
            </a:r>
            <a:endParaRPr lang="zh-CN" altLang="en-US" strike="noStrike" noProof="1"/>
          </a:p>
        </p:txBody>
      </p:sp>
      <p:sp>
        <p:nvSpPr>
          <p:cNvPr id="4" name="内容占位符 3"/>
          <p:cNvSpPr>
            <a:spLocks noGrp="1"/>
          </p:cNvSpPr>
          <p:nvPr>
            <p:ph sz="half" idx="2"/>
          </p:nvPr>
        </p:nvSpPr>
        <p:spPr>
          <a:xfrm>
            <a:off x="6201833" y="1981200"/>
            <a:ext cx="5592233" cy="3886200"/>
          </a:xfrm>
        </p:spPr>
        <p:txBody>
          <a:bodyPr/>
          <a:lstStyle>
            <a:lvl1pPr>
              <a:defRPr sz="2800">
                <a:cs typeface="微软雅黑" panose="020B0503020204020204" charset="-122"/>
              </a:defRPr>
            </a:lvl1pPr>
            <a:lvl2pPr>
              <a:defRPr sz="2400">
                <a:cs typeface="微软雅黑" panose="020B0503020204020204" charset="-122"/>
              </a:defRPr>
            </a:lvl2pPr>
            <a:lvl3pPr>
              <a:defRPr sz="2000">
                <a:cs typeface="微软雅黑" panose="020B0503020204020204" charset="-122"/>
              </a:defRPr>
            </a:lvl3pPr>
            <a:lvl4pPr>
              <a:defRPr sz="1800">
                <a:cs typeface="微软雅黑" panose="020B0503020204020204" charset="-122"/>
              </a:defRPr>
            </a:lvl4pPr>
            <a:lvl5pPr>
              <a:defRPr sz="1800">
                <a:cs typeface="微软雅黑" panose="020B0503020204020204" charset="-122"/>
              </a:defRPr>
            </a:lvl5pPr>
            <a:lvl6pPr>
              <a:defRPr sz="1800"/>
            </a:lvl6pPr>
            <a:lvl7pPr>
              <a:defRPr sz="1800"/>
            </a:lvl7pPr>
            <a:lvl8pPr>
              <a:defRPr sz="1800"/>
            </a:lvl8pPr>
            <a:lvl9pPr>
              <a:defRPr sz="1800"/>
            </a:lvl9pPr>
          </a:lstStyle>
          <a:p>
            <a:pPr lvl="0" fontAlgn="auto"/>
            <a:r>
              <a:rPr lang="zh-CN" altLang="en-US" strike="noStrike" noProof="1"/>
              <a:t>单击此处编辑母版文本样式</a:t>
            </a:r>
            <a:endParaRPr lang="zh-CN" altLang="en-US" strike="noStrike" noProof="1"/>
          </a:p>
          <a:p>
            <a:pPr lvl="1" fontAlgn="auto"/>
            <a:r>
              <a:rPr lang="zh-CN" altLang="en-US"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trike="noStrike" noProof="1"/>
              <a:t>第四级</a:t>
            </a:r>
            <a:endParaRPr lang="zh-CN" altLang="en-US" strike="noStrike" noProof="1"/>
          </a:p>
          <a:p>
            <a:pPr lvl="4" fontAlgn="auto"/>
            <a:r>
              <a:rPr lang="zh-CN" altLang="en-US" strike="noStrike" noProof="1"/>
              <a:t>第五级</a:t>
            </a:r>
            <a:endParaRPr lang="zh-CN" altLang="en-US" strike="noStrike" noProof="1"/>
          </a:p>
        </p:txBody>
      </p:sp>
      <p:sp>
        <p:nvSpPr>
          <p:cNvPr id="5" name="Rectangle 4"/>
          <p:cNvSpPr>
            <a:spLocks noGrp="1" noChangeArrowheads="1"/>
          </p:cNvSpPr>
          <p:nvPr>
            <p:ph type="dt" sz="half" idx="10"/>
          </p:nvPr>
        </p:nvSpPr>
        <p:spPr>
          <a:xfrm>
            <a:off x="82550" y="6403975"/>
            <a:ext cx="2844800" cy="365125"/>
          </a:xfrm>
          <a:prstGeom prst="rect">
            <a:avLst/>
          </a:prstGeom>
        </p:spPr>
        <p:txBody>
          <a:bodyPr vert="horz" lIns="91440" tIns="45720" rIns="91440" bIns="45720" rtlCol="0" anchor="ctr"/>
          <a:lstStyle>
            <a:lvl1pPr>
              <a:defRPr/>
            </a:lvl1pPr>
          </a:lstStyle>
          <a:p>
            <a:pPr fontAlgn="base">
              <a:defRPr/>
            </a:pPr>
            <a:endParaRPr lang="en-US" altLang="zh-CN" strike="noStrike" noProof="1"/>
          </a:p>
        </p:txBody>
      </p:sp>
      <p:sp>
        <p:nvSpPr>
          <p:cNvPr id="6" name="Rectangle 5"/>
          <p:cNvSpPr>
            <a:spLocks noGrp="1" noChangeArrowheads="1"/>
          </p:cNvSpPr>
          <p:nvPr>
            <p:ph type="ftr" sz="quarter" idx="11"/>
          </p:nvPr>
        </p:nvSpPr>
        <p:spPr>
          <a:xfrm>
            <a:off x="0" y="0"/>
            <a:ext cx="0" cy="0"/>
          </a:xfrm>
        </p:spPr>
        <p:txBody>
          <a:bodyPr/>
          <a:lstStyle>
            <a:lvl1pPr>
              <a:defRPr>
                <a:cs typeface="微软雅黑" panose="020B0503020204020204" charset="-122"/>
              </a:defRPr>
            </a:lvl1pPr>
          </a:lstStyle>
          <a:p>
            <a:pPr fontAlgn="base">
              <a:defRPr/>
            </a:pPr>
            <a:endParaRPr lang="en-US" altLang="zh-CN" strike="noStrike" noProof="1"/>
          </a:p>
        </p:txBody>
      </p:sp>
      <p:sp>
        <p:nvSpPr>
          <p:cNvPr id="7" name="Rectangle 6"/>
          <p:cNvSpPr>
            <a:spLocks noGrp="1" noChangeArrowheads="1"/>
          </p:cNvSpPr>
          <p:nvPr>
            <p:ph type="sldNum" sz="quarter" idx="12"/>
          </p:nvPr>
        </p:nvSpPr>
        <p:spPr>
          <a:xfrm>
            <a:off x="0" y="0"/>
            <a:ext cx="0" cy="0"/>
          </a:xfrm>
        </p:spPr>
        <p:txBody>
          <a:bodyPr/>
          <a:lstStyle>
            <a:lvl1pPr>
              <a:defRPr>
                <a:cs typeface="微软雅黑" panose="020B0503020204020204" charset="-122"/>
              </a:defRPr>
            </a:lvl1pPr>
          </a:lstStyle>
          <a:p>
            <a:pPr fontAlgn="base">
              <a:defRPr/>
            </a:pPr>
            <a:fld id="{5320FE5E-710A-47CC-A441-9D6369A8AF9C}" type="slidenum">
              <a:rPr lang="en-US" altLang="zh-CN" strike="noStrike" noProof="1">
                <a:latin typeface="Arial" panose="020B0604020202020204" pitchFamily="34" charset="0"/>
                <a:ea typeface="微软雅黑" panose="020B0503020204020204" charset="-122"/>
                <a:cs typeface="微软雅黑" panose="020B0503020204020204" charset="-122"/>
              </a:rPr>
            </a:fld>
            <a:endParaRPr lang="en-US" altLang="zh-CN" strike="noStrike" noProof="1"/>
          </a:p>
        </p:txBody>
      </p:sp>
    </p:spTree>
  </p:cSld>
  <p:clrMapOvr>
    <a:masterClrMapping/>
  </p:clrMapOvr>
  <p:transition spd="slow">
    <p:randomBar dir="vert"/>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199" y="365103"/>
            <a:ext cx="10515600" cy="1325479"/>
          </a:xfrm>
        </p:spPr>
        <p:txBody>
          <a:bodyPr/>
          <a:lstStyle>
            <a:lvl1pPr>
              <a:defRPr>
                <a:cs typeface="微软雅黑" panose="020B0503020204020204" charset="-122"/>
              </a:defRPr>
            </a:lvl1pPr>
          </a:lstStyle>
          <a:p>
            <a:pPr fontAlgn="auto"/>
            <a:r>
              <a:rPr lang="zh-CN" altLang="en-US" sz="5865" strike="noStrike" noProof="1"/>
              <a:t>单击此处编辑母版标题样式</a:t>
            </a:r>
            <a:endParaRPr lang="zh-CN" altLang="en-US" strike="noStrike" noProof="1"/>
          </a:p>
        </p:txBody>
      </p:sp>
      <p:sp>
        <p:nvSpPr>
          <p:cNvPr id="3" name="Date Placeholder 3"/>
          <p:cNvSpPr>
            <a:spLocks noGrp="1" noChangeArrowheads="1"/>
          </p:cNvSpPr>
          <p:nvPr>
            <p:ph type="dt" sz="half" idx="10"/>
          </p:nvPr>
        </p:nvSpPr>
        <p:spPr>
          <a:xfrm>
            <a:off x="82550" y="6403975"/>
            <a:ext cx="2844800" cy="365125"/>
          </a:xfrm>
          <a:prstGeom prst="rect">
            <a:avLst/>
          </a:prstGeom>
        </p:spPr>
        <p:txBody>
          <a:bodyPr vert="horz" lIns="91440" tIns="45720" rIns="91440" bIns="45720" rtlCol="0" anchor="ctr"/>
          <a:lstStyle>
            <a:lvl1pPr>
              <a:defRPr/>
            </a:lvl1pPr>
          </a:lstStyle>
          <a:p>
            <a:pPr fontAlgn="base">
              <a:defRPr/>
            </a:pPr>
            <a:fld id="{8EB76DFE-7DBE-49AA-B235-DC754F3FA7CB}" type="datetime1">
              <a:rPr lang="zh-CN" altLang="en-US" strike="noStrike" noProof="1">
                <a:latin typeface="微软雅黑" panose="020B0503020204020204" charset="-122"/>
                <a:ea typeface="微软雅黑" panose="020B0503020204020204" charset="-122"/>
                <a:cs typeface="微软雅黑" panose="020B0503020204020204" charset="-122"/>
              </a:rPr>
            </a:fld>
            <a:endParaRPr lang="zh-CN" altLang="en-US" sz="1525" strike="noStrike" noProof="1">
              <a:solidFill>
                <a:schemeClr val="tx1"/>
              </a:solidFill>
            </a:endParaRPr>
          </a:p>
        </p:txBody>
      </p:sp>
      <p:sp>
        <p:nvSpPr>
          <p:cNvPr id="4" name="Footer Placeholder 4"/>
          <p:cNvSpPr>
            <a:spLocks noGrp="1" noChangeArrowheads="1"/>
          </p:cNvSpPr>
          <p:nvPr>
            <p:ph type="ftr" sz="quarter" idx="11"/>
          </p:nvPr>
        </p:nvSpPr>
        <p:spPr>
          <a:xfrm>
            <a:off x="0" y="0"/>
            <a:ext cx="0" cy="0"/>
          </a:xfrm>
        </p:spPr>
        <p:txBody>
          <a:bodyPr/>
          <a:lstStyle>
            <a:lvl1pPr>
              <a:defRPr>
                <a:cs typeface="微软雅黑" panose="020B0503020204020204" charset="-122"/>
              </a:defRPr>
            </a:lvl1pPr>
          </a:lstStyle>
          <a:p>
            <a:pPr fontAlgn="base">
              <a:defRPr/>
            </a:pPr>
            <a:endParaRPr lang="zh-CN" altLang="zh-CN" strike="noStrike" noProof="1"/>
          </a:p>
        </p:txBody>
      </p:sp>
      <p:sp>
        <p:nvSpPr>
          <p:cNvPr id="5" name="Slide Number Placeholder 5"/>
          <p:cNvSpPr>
            <a:spLocks noGrp="1" noChangeArrowheads="1"/>
          </p:cNvSpPr>
          <p:nvPr>
            <p:ph type="sldNum" sz="quarter" idx="12"/>
          </p:nvPr>
        </p:nvSpPr>
        <p:spPr>
          <a:xfrm>
            <a:off x="0" y="0"/>
            <a:ext cx="0" cy="0"/>
          </a:xfrm>
        </p:spPr>
        <p:txBody>
          <a:bodyPr/>
          <a:lstStyle>
            <a:lvl1pPr>
              <a:defRPr>
                <a:cs typeface="微软雅黑" panose="020B0503020204020204" charset="-122"/>
              </a:defRPr>
            </a:lvl1pPr>
          </a:lstStyle>
          <a:p>
            <a:pPr fontAlgn="base"/>
            <a:fld id="{B75BED6E-91AB-4451-9F91-C0CCF3286FE6}" type="slidenum">
              <a:rPr lang="zh-CN" altLang="en-US" strike="noStrike" noProof="1">
                <a:latin typeface="Arial" panose="020B0604020202020204" pitchFamily="34" charset="0"/>
                <a:ea typeface="微软雅黑" panose="020B0503020204020204" charset="-122"/>
                <a:cs typeface="微软雅黑" panose="020B0503020204020204" charset="-122"/>
              </a:rPr>
            </a:fld>
            <a:endParaRPr lang="zh-CN" altLang="en-US" sz="1525" strike="noStrike" noProof="1">
              <a:solidFill>
                <a:schemeClr val="tx1"/>
              </a:solidFill>
            </a:endParaRPr>
          </a:p>
        </p:txBody>
      </p:sp>
    </p:spTree>
  </p:cSld>
  <p:clrMapOvr>
    <a:masterClrMapping/>
  </p:clrMapOvr>
  <p:transition spd="slow" advClick="0" advTm="2000">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showMasterSp="0">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08000" y="838201"/>
            <a:ext cx="10972800" cy="461665"/>
          </a:xfrm>
          <a:prstGeom prst="rect">
            <a:avLst/>
          </a:prstGeom>
        </p:spPr>
        <p:txBody>
          <a:bodyPr lIns="0" tIns="0" rIns="0" bIns="0"/>
          <a:lstStyle>
            <a:lvl1pPr>
              <a:defRPr sz="2800" b="1" i="0">
                <a:solidFill>
                  <a:schemeClr val="tx1"/>
                </a:solidFill>
                <a:latin typeface="微软雅黑" panose="020B0503020204020204" charset="-122"/>
                <a:ea typeface="微软雅黑" panose="020B0503020204020204" charset="-122"/>
                <a:cs typeface="微软雅黑" panose="020B0503020204020204" charset="-122"/>
              </a:defRPr>
            </a:lvl1pPr>
          </a:lstStyle>
          <a:p>
            <a:pPr fontAlgn="auto"/>
          </a:p>
        </p:txBody>
      </p:sp>
      <p:sp>
        <p:nvSpPr>
          <p:cNvPr id="3" name="Holder 3"/>
          <p:cNvSpPr>
            <a:spLocks noGrp="1"/>
          </p:cNvSpPr>
          <p:nvPr>
            <p:ph sz="half" idx="2"/>
          </p:nvPr>
        </p:nvSpPr>
        <p:spPr>
          <a:xfrm>
            <a:off x="810091" y="1294765"/>
            <a:ext cx="5443220" cy="276999"/>
          </a:xfrm>
          <a:prstGeom prst="rect">
            <a:avLst/>
          </a:prstGeom>
        </p:spPr>
        <p:txBody>
          <a:bodyPr wrap="square" lIns="0" tIns="0" rIns="0" bIns="0">
            <a:spAutoFit/>
          </a:bodyPr>
          <a:lstStyle>
            <a:lvl1pPr>
              <a:defRPr sz="1800" b="1" i="0" u="sng">
                <a:solidFill>
                  <a:schemeClr val="tx1"/>
                </a:solidFill>
                <a:latin typeface="微软雅黑" panose="020B0503020204020204" charset="-122"/>
                <a:ea typeface="微软雅黑" panose="020B0503020204020204" charset="-122"/>
                <a:cs typeface="微软雅黑" panose="020B0503020204020204" charset="-122"/>
              </a:defRPr>
            </a:lvl1pPr>
          </a:lstStyle>
          <a:p>
            <a:pPr fontAlgn="auto"/>
          </a:p>
        </p:txBody>
      </p:sp>
      <p:sp>
        <p:nvSpPr>
          <p:cNvPr id="4" name="Holder 4"/>
          <p:cNvSpPr>
            <a:spLocks noGrp="1"/>
          </p:cNvSpPr>
          <p:nvPr>
            <p:ph sz="half" idx="3"/>
          </p:nvPr>
        </p:nvSpPr>
        <p:spPr>
          <a:xfrm>
            <a:off x="6278880" y="1577340"/>
            <a:ext cx="5303520" cy="656591"/>
          </a:xfrm>
          <a:prstGeom prst="rect">
            <a:avLst/>
          </a:prstGeom>
        </p:spPr>
        <p:txBody>
          <a:bodyPr wrap="square" lIns="0" tIns="0" rIns="0" bIns="0">
            <a:spAutoFit/>
          </a:bodyPr>
          <a:lstStyle>
            <a:lvl1pPr>
              <a:defRPr>
                <a:ea typeface="微软雅黑" panose="020B0503020204020204" charset="-122"/>
                <a:cs typeface="微软雅黑" panose="020B0503020204020204" charset="-122"/>
              </a:defRPr>
            </a:lvl1pPr>
          </a:lstStyle>
          <a:p>
            <a:pPr fontAlgn="auto"/>
          </a:p>
        </p:txBody>
      </p:sp>
      <p:sp>
        <p:nvSpPr>
          <p:cNvPr id="5" name="Holder 5"/>
          <p:cNvSpPr>
            <a:spLocks noGrp="1"/>
          </p:cNvSpPr>
          <p:nvPr>
            <p:ph type="ftr" sz="quarter" idx="5"/>
          </p:nvPr>
        </p:nvSpPr>
        <p:spPr>
          <a:xfrm>
            <a:off x="101600" y="6400800"/>
            <a:ext cx="3962400" cy="338138"/>
          </a:xfrm>
          <a:prstGeom prst="rect">
            <a:avLst/>
          </a:prstGeom>
        </p:spPr>
        <p:txBody>
          <a:bodyPr lIns="0" tIns="0" rIns="0" bIns="0"/>
          <a:lstStyle>
            <a:lvl1pPr algn="ctr">
              <a:defRPr>
                <a:solidFill>
                  <a:schemeClr val="tx1">
                    <a:tint val="75000"/>
                  </a:schemeClr>
                </a:solidFill>
                <a:ea typeface="微软雅黑" panose="020B0503020204020204" charset="-122"/>
                <a:cs typeface="微软雅黑" panose="020B0503020204020204" charset="-122"/>
              </a:defRPr>
            </a:lvl1pPr>
          </a:lstStyle>
          <a:p>
            <a:pPr fontAlgn="base"/>
          </a:p>
        </p:txBody>
      </p:sp>
      <p:sp>
        <p:nvSpPr>
          <p:cNvPr id="6" name="Holder 6"/>
          <p:cNvSpPr>
            <a:spLocks noGrp="1"/>
          </p:cNvSpPr>
          <p:nvPr>
            <p:ph type="dt" sz="half" idx="6"/>
          </p:nvPr>
        </p:nvSpPr>
        <p:spPr>
          <a:xfrm>
            <a:off x="609600" y="6378575"/>
            <a:ext cx="2803525" cy="342900"/>
          </a:xfrm>
          <a:prstGeom prst="rect">
            <a:avLst/>
          </a:prstGeom>
        </p:spPr>
        <p:txBody>
          <a:bodyPr vert="horz" lIns="0" tIns="0" rIns="0" bIns="0" rtlCol="0" anchor="ctr"/>
          <a:lstStyle>
            <a:lvl1pPr algn="l">
              <a:defRPr>
                <a:solidFill>
                  <a:schemeClr val="tx1">
                    <a:tint val="75000"/>
                  </a:schemeClr>
                </a:solidFill>
                <a:ea typeface="微软雅黑" panose="020B0503020204020204" charset="-122"/>
              </a:defRPr>
            </a:lvl1pPr>
          </a:lstStyle>
          <a:p>
            <a:pPr fontAlgn="base"/>
            <a:fld id="{1D8BD707-D9CF-40AE-B4C6-C98DA3205C09}" type="datetimeFigureOut">
              <a:rPr lang="en-US" strike="noStrike" noProof="1">
                <a:latin typeface="微软雅黑" panose="020B0503020204020204" charset="-122"/>
                <a:ea typeface="微软雅黑" panose="020B0503020204020204" charset="-122"/>
                <a:cs typeface="微软雅黑" panose="020B0503020204020204" charset="-122"/>
              </a:rPr>
            </a:fld>
            <a:endParaRPr lang="en-US" strike="noStrike" noProof="1"/>
          </a:p>
        </p:txBody>
      </p:sp>
      <p:sp>
        <p:nvSpPr>
          <p:cNvPr id="7" name="Holder 7"/>
          <p:cNvSpPr>
            <a:spLocks noGrp="1"/>
          </p:cNvSpPr>
          <p:nvPr>
            <p:ph type="sldNum" sz="quarter" idx="7"/>
          </p:nvPr>
        </p:nvSpPr>
        <p:spPr>
          <a:xfrm>
            <a:off x="11074400" y="6477000"/>
            <a:ext cx="1016000" cy="228600"/>
          </a:xfrm>
          <a:prstGeom prst="rect">
            <a:avLst/>
          </a:prstGeom>
        </p:spPr>
        <p:txBody>
          <a:bodyPr lIns="0" tIns="0" rIns="0" bIns="0"/>
          <a:lstStyle>
            <a:lvl1pPr>
              <a:defRPr sz="1400" b="0" i="0">
                <a:solidFill>
                  <a:schemeClr val="tx1"/>
                </a:solidFill>
                <a:latin typeface="微软雅黑" panose="020B0503020204020204" charset="-122"/>
                <a:cs typeface="微软雅黑" panose="020B0503020204020204" charset="-122"/>
              </a:defRPr>
            </a:lvl1pPr>
          </a:lstStyle>
          <a:p>
            <a:pPr marL="19050" fontAlgn="base">
              <a:lnSpc>
                <a:spcPts val="1190"/>
              </a:lnSpc>
            </a:pPr>
            <a:fld id="{81D60167-4931-47E6-BA6A-407CBD079E47}" type="slidenum">
              <a:rPr lang="en-US" altLang="zh-CN" strike="noStrike" noProof="1" smtClean="0">
                <a:latin typeface="微软雅黑" panose="020B0503020204020204" charset="-122"/>
                <a:ea typeface="微软雅黑" panose="020B0503020204020204" charset="-122"/>
                <a:cs typeface="微软雅黑" panose="020B0503020204020204" charset="-122"/>
              </a:rPr>
            </a:fld>
            <a:endParaRPr lang="en-US" altLang="zh-CN"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1048585"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2A0CE1AF-DAB2-4ADF-93FA-D25DD27C0739}"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48586"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1051044" name="日期占位符 3"/>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4C4AE661-801A-4BC7-BD13-B4514D0BF7C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5" name="灯片编号占位符 5"/>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1051030" name="日期占位符 4"/>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AE90F0C4-B81E-437B-B9F6-D83FD98A62B2}"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1" name="灯片编号占位符 6"/>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0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1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1051032" name="日期占位符 6"/>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7C37047B-9E9A-4966-BBED-C933A05174B3}"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3" name="灯片编号占位符 8"/>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2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3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4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5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6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7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8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9_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4" name="页脚占位符 3"/>
          <p:cNvSpPr>
            <a:spLocks noGrp="1"/>
          </p:cNvSpPr>
          <p:nvPr>
            <p:ph type="ftr" sz="quarter" idx="11"/>
          </p:nvPr>
        </p:nvSpPr>
        <p:spPr>
          <a:xfrm>
            <a:off x="4038600" y="6356350"/>
            <a:ext cx="4114800" cy="365125"/>
          </a:xfrm>
        </p:spPr>
        <p:txBody>
          <a:bodyPr/>
          <a:lstStyle/>
          <a:p>
            <a:endParaRPr lang="zh-CN" altLang="en-US"/>
          </a:p>
        </p:txBody>
      </p:sp>
      <p:sp>
        <p:nvSpPr>
          <p:cNvPr id="5" name="灯片编号占位符 4"/>
          <p:cNvSpPr>
            <a:spLocks noGrp="1"/>
          </p:cNvSpPr>
          <p:nvPr>
            <p:ph type="sldNum" sz="quarter" idx="12"/>
          </p:nvPr>
        </p:nvSpPr>
        <p:spPr>
          <a:xfrm>
            <a:off x="8610600" y="6356350"/>
            <a:ext cx="2743200" cy="365125"/>
          </a:xfrm>
        </p:spPr>
        <p:txBody>
          <a:bodyPr/>
          <a:lstStyle/>
          <a:p>
            <a:fld id="{E077DA78-E013-4A8C-AD75-63A150561B10}" type="slidenum">
              <a:rPr lang="zh-CN" altLang="en-US" smtClean="0"/>
            </a:fld>
            <a:endParaRPr lang="zh-CN" altLang="en-US"/>
          </a:p>
        </p:txBody>
      </p:sp>
    </p:spTree>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获取资料咨询微信：ansyingsj1]">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617"/>
            <a:ext cx="9144000" cy="2388140"/>
          </a:xfrm>
        </p:spPr>
        <p:txBody>
          <a:bodyPr anchor="b"/>
          <a:lstStyle>
            <a:lvl1pPr algn="ctr">
              <a:defRPr sz="6000"/>
            </a:lvl1pPr>
          </a:lstStyle>
          <a:p>
            <a:pPr fontAlgn="auto"/>
            <a:r>
              <a:rPr lang="zh-CN" altLang="en-US" strike="noStrike" noProof="1"/>
              <a:t>单击此处编辑母版标题样式</a:t>
            </a:r>
            <a:endParaRPr lang="zh-CN" altLang="en-US" strike="noStrike" noProof="1"/>
          </a:p>
        </p:txBody>
      </p:sp>
      <p:sp>
        <p:nvSpPr>
          <p:cNvPr id="3" name="副标题 2"/>
          <p:cNvSpPr>
            <a:spLocks noGrp="1"/>
          </p:cNvSpPr>
          <p:nvPr>
            <p:ph type="subTitle" idx="1"/>
          </p:nvPr>
        </p:nvSpPr>
        <p:spPr>
          <a:xfrm>
            <a:off x="1524000" y="3602853"/>
            <a:ext cx="9144000" cy="1656137"/>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5365" indent="0" algn="ctr">
              <a:buNone/>
              <a:defRPr sz="1600"/>
            </a:lvl6pPr>
            <a:lvl7pPr marL="2743200" indent="0" algn="ctr">
              <a:buNone/>
              <a:defRPr sz="1600"/>
            </a:lvl7pPr>
            <a:lvl8pPr marL="3200400" indent="0" algn="ctr">
              <a:buNone/>
              <a:defRPr sz="1600"/>
            </a:lvl8pPr>
            <a:lvl9pPr marL="3657600" indent="0" algn="ctr">
              <a:buNone/>
              <a:defRPr sz="1600"/>
            </a:lvl9pPr>
          </a:lstStyle>
          <a:p>
            <a:pPr fontAlgn="auto"/>
            <a:r>
              <a:rPr lang="zh-CN" altLang="en-US" strike="noStrike" noProof="1"/>
              <a:t>单击此处编辑母版副标题样式</a:t>
            </a:r>
            <a:endParaRPr lang="zh-CN" altLang="en-US" strike="noStrike" noProof="1"/>
          </a:p>
        </p:txBody>
      </p:sp>
      <p:sp>
        <p:nvSpPr>
          <p:cNvPr id="4" name="日期占位符 3"/>
          <p:cNvSpPr>
            <a:spLocks noGrp="1"/>
          </p:cNvSpPr>
          <p:nvPr>
            <p:ph type="dt" sz="half" idx="10"/>
          </p:nvPr>
        </p:nvSpPr>
        <p:spPr/>
        <p:txBody>
          <a:bodyP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5" name="页脚占位符 4"/>
          <p:cNvSpPr>
            <a:spLocks noGrp="1"/>
          </p:cNvSpPr>
          <p:nvPr>
            <p:ph type="ftr" sz="quarter" idx="11"/>
          </p:nvPr>
        </p:nvSpPr>
        <p:spPr/>
        <p:txBody>
          <a:bodyPr/>
          <a:lstStyle/>
          <a:p>
            <a:pPr fontAlgn="base"/>
            <a:endParaRPr lang="zh-CN" altLang="en-US" strike="noStrike" noProof="1"/>
          </a:p>
        </p:txBody>
      </p:sp>
      <p:sp>
        <p:nvSpPr>
          <p:cNvPr id="6" name="灯片编号占位符 5"/>
          <p:cNvSpPr>
            <a:spLocks noGrp="1"/>
          </p:cNvSpPr>
          <p:nvPr>
            <p:ph type="sldNum" sz="quarter" idx="12"/>
          </p:nvPr>
        </p:nvSpPr>
        <p:spPr/>
        <p:txBody>
          <a:bodyP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7" name="平行四边形 6"/>
          <p:cNvSpPr/>
          <p:nvPr userDrawn="1"/>
        </p:nvSpPr>
        <p:spPr>
          <a:xfrm>
            <a:off x="-2686050" y="0"/>
            <a:ext cx="9248775" cy="6858000"/>
          </a:xfrm>
          <a:prstGeom prst="parallelogram">
            <a:avLst/>
          </a:prstGeom>
          <a:solidFill>
            <a:srgbClr val="64A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8" name="平行四边形 7"/>
          <p:cNvSpPr/>
          <p:nvPr userDrawn="1"/>
        </p:nvSpPr>
        <p:spPr>
          <a:xfrm>
            <a:off x="4792663" y="0"/>
            <a:ext cx="9247188" cy="6858000"/>
          </a:xfrm>
          <a:prstGeom prst="parallelogram">
            <a:avLst/>
          </a:prstGeom>
          <a:solidFill>
            <a:srgbClr val="D25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9" name="矩形 8"/>
          <p:cNvSpPr/>
          <p:nvPr userDrawn="1"/>
        </p:nvSpPr>
        <p:spPr>
          <a:xfrm>
            <a:off x="547688" y="466725"/>
            <a:ext cx="11096625" cy="5926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grpSp>
        <p:nvGrpSpPr>
          <p:cNvPr id="23557" name="组合 24"/>
          <p:cNvGrpSpPr/>
          <p:nvPr userDrawn="1"/>
        </p:nvGrpSpPr>
        <p:grpSpPr>
          <a:xfrm rot="5400000">
            <a:off x="5676900" y="1163638"/>
            <a:ext cx="830263" cy="2187575"/>
            <a:chOff x="1301148" y="2161052"/>
            <a:chExt cx="1741251" cy="2610856"/>
          </a:xfrm>
        </p:grpSpPr>
        <p:grpSp>
          <p:nvGrpSpPr>
            <p:cNvPr id="23558" name="组合 25"/>
            <p:cNvGrpSpPr/>
            <p:nvPr/>
          </p:nvGrpSpPr>
          <p:grpSpPr>
            <a:xfrm>
              <a:off x="1301148" y="2161052"/>
              <a:ext cx="1741251" cy="257102"/>
              <a:chOff x="1288158" y="2106579"/>
              <a:chExt cx="1741251" cy="237787"/>
            </a:xfrm>
          </p:grpSpPr>
          <p:cxnSp>
            <p:nvCxnSpPr>
              <p:cNvPr id="31" name="直接连接符 30"/>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562" name="组合 26"/>
            <p:cNvGrpSpPr/>
            <p:nvPr/>
          </p:nvGrpSpPr>
          <p:grpSpPr>
            <a:xfrm>
              <a:off x="1301148" y="4514806"/>
              <a:ext cx="1741251" cy="257102"/>
              <a:chOff x="1288158" y="2106579"/>
              <a:chExt cx="1741251" cy="237787"/>
            </a:xfrm>
          </p:grpSpPr>
          <p:cxnSp>
            <p:nvCxnSpPr>
              <p:cNvPr id="28" name="直接连接符 27"/>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2" name="日期占位符 1"/>
          <p:cNvSpPr>
            <a:spLocks noGrp="1"/>
          </p:cNvSpPr>
          <p:nvPr>
            <p:ph type="dt" sz="half" idx="10"/>
          </p:nvPr>
        </p:nvSpPr>
        <p:spPr>
          <a:xfrm>
            <a:off x="838200" y="6357938"/>
            <a:ext cx="2743200" cy="365125"/>
          </a:xfrm>
          <a:prstGeom prst="rect">
            <a:avLst/>
          </a:prstGeom>
        </p:spPr>
        <p:txBody>
          <a:bodyPr vert="horz" lIns="91440" tIns="45720" rIns="91440" bIns="45720" rtlCol="0" anchor="ct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3" name="页脚占位符 2"/>
          <p:cNvSpPr>
            <a:spLocks noGrp="1"/>
          </p:cNvSpPr>
          <p:nvPr>
            <p:ph type="ftr" sz="quarter" idx="11"/>
          </p:nvPr>
        </p:nvSpPr>
        <p:spPr>
          <a:xfrm>
            <a:off x="4038600" y="6357938"/>
            <a:ext cx="4114800" cy="365125"/>
          </a:xfrm>
          <a:prstGeom prst="rect">
            <a:avLst/>
          </a:prstGeom>
        </p:spPr>
        <p:txBody>
          <a:bodyPr vert="horz" lIns="91440" tIns="45720" rIns="91440" bIns="45720" rtlCol="0" anchor="ctr"/>
          <a:lstStyle/>
          <a:p>
            <a:pPr fontAlgn="base"/>
            <a:endParaRPr lang="zh-CN" altLang="en-US" strike="noStrike" noProof="1"/>
          </a:p>
        </p:txBody>
      </p:sp>
      <p:sp>
        <p:nvSpPr>
          <p:cNvPr id="4" name="灯片编号占位符 3"/>
          <p:cNvSpPr>
            <a:spLocks noGrp="1"/>
          </p:cNvSpPr>
          <p:nvPr>
            <p:ph type="sldNum" sz="quarter" idx="12"/>
          </p:nvPr>
        </p:nvSpPr>
        <p:spPr>
          <a:xfrm>
            <a:off x="8610600" y="6357938"/>
            <a:ext cx="2743200" cy="365125"/>
          </a:xfrm>
          <a:prstGeom prst="rect">
            <a:avLst/>
          </a:prstGeom>
        </p:spPr>
        <p:txBody>
          <a:bodyPr vert="horz" lIns="91440" tIns="45720" rIns="91440" bIns="45720" rtlCol="0" anchor="ct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1051034" name="日期占位符 2"/>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C156E77B-BCC5-45BE-9B5E-2D38C7AFB5B0}"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5" name="灯片编号占位符 4"/>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3" name="页脚占位符 2"/>
          <p:cNvSpPr>
            <a:spLocks noGrp="1"/>
          </p:cNvSpPr>
          <p:nvPr>
            <p:ph type="ftr" sz="quarter" idx="11"/>
          </p:nvPr>
        </p:nvSpPr>
        <p:spPr/>
        <p:txBody>
          <a:bodyPr/>
          <a:lstStyle/>
          <a:p>
            <a:pPr fontAlgn="base"/>
            <a:endParaRPr lang="zh-CN" altLang="en-US" strike="noStrike" noProof="1"/>
          </a:p>
        </p:txBody>
      </p:sp>
      <p:sp>
        <p:nvSpPr>
          <p:cNvPr id="4" name="灯片编号占位符 3"/>
          <p:cNvSpPr>
            <a:spLocks noGrp="1"/>
          </p:cNvSpPr>
          <p:nvPr>
            <p:ph type="sldNum" sz="quarter" idx="12"/>
          </p:nvPr>
        </p:nvSpPr>
        <p:spPr/>
        <p:txBody>
          <a:bodyP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10" name="平行四边形 9"/>
          <p:cNvSpPr/>
          <p:nvPr userDrawn="1"/>
        </p:nvSpPr>
        <p:spPr>
          <a:xfrm>
            <a:off x="-2686050" y="0"/>
            <a:ext cx="9248775" cy="6858000"/>
          </a:xfrm>
          <a:prstGeom prst="parallelogram">
            <a:avLst/>
          </a:prstGeom>
          <a:solidFill>
            <a:srgbClr val="64AC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11" name="平行四边形 10"/>
          <p:cNvSpPr/>
          <p:nvPr userDrawn="1"/>
        </p:nvSpPr>
        <p:spPr>
          <a:xfrm>
            <a:off x="4792663" y="0"/>
            <a:ext cx="9247188" cy="6858000"/>
          </a:xfrm>
          <a:prstGeom prst="parallelogram">
            <a:avLst/>
          </a:prstGeom>
          <a:solidFill>
            <a:srgbClr val="D250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sp>
        <p:nvSpPr>
          <p:cNvPr id="12" name="矩形 11"/>
          <p:cNvSpPr/>
          <p:nvPr userDrawn="1"/>
        </p:nvSpPr>
        <p:spPr>
          <a:xfrm>
            <a:off x="547688" y="466725"/>
            <a:ext cx="11096625" cy="5926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1800" strike="noStrike" noProof="1">
              <a:cs typeface="微软雅黑" panose="020B0503020204020204" charset="-122"/>
            </a:endParaRPr>
          </a:p>
        </p:txBody>
      </p:sp>
      <p:grpSp>
        <p:nvGrpSpPr>
          <p:cNvPr id="24581" name="组合 24"/>
          <p:cNvGrpSpPr/>
          <p:nvPr userDrawn="1"/>
        </p:nvGrpSpPr>
        <p:grpSpPr>
          <a:xfrm>
            <a:off x="1301750" y="2486025"/>
            <a:ext cx="2065338" cy="2611438"/>
            <a:chOff x="1537" y="2529"/>
            <a:chExt cx="2056" cy="3084"/>
          </a:xfrm>
        </p:grpSpPr>
        <p:grpSp>
          <p:nvGrpSpPr>
            <p:cNvPr id="24582" name="组合 19"/>
            <p:cNvGrpSpPr/>
            <p:nvPr/>
          </p:nvGrpSpPr>
          <p:grpSpPr>
            <a:xfrm>
              <a:off x="1537" y="2529"/>
              <a:ext cx="2057" cy="304"/>
              <a:chOff x="1288158" y="2106579"/>
              <a:chExt cx="1741251" cy="237787"/>
            </a:xfrm>
          </p:grpSpPr>
          <p:cxnSp>
            <p:nvCxnSpPr>
              <p:cNvPr id="21" name="直接连接符 20"/>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586" name="组合 25"/>
            <p:cNvGrpSpPr/>
            <p:nvPr/>
          </p:nvGrpSpPr>
          <p:grpSpPr>
            <a:xfrm>
              <a:off x="1537" y="5309"/>
              <a:ext cx="2057" cy="304"/>
              <a:chOff x="1288158" y="2106579"/>
              <a:chExt cx="1741251" cy="237787"/>
            </a:xfrm>
          </p:grpSpPr>
          <p:cxnSp>
            <p:nvCxnSpPr>
              <p:cNvPr id="27" name="直接连接符 26"/>
              <p:cNvCxnSpPr/>
              <p:nvPr/>
            </p:nvCxnSpPr>
            <p:spPr>
              <a:xfrm>
                <a:off x="1288158" y="2225473"/>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1288158" y="2344366"/>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288158" y="2106579"/>
                <a:ext cx="1741251"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2" name="日期占位符 1"/>
          <p:cNvSpPr>
            <a:spLocks noGrp="1"/>
          </p:cNvSpPr>
          <p:nvPr>
            <p:ph type="dt" sz="half" idx="10"/>
          </p:nvPr>
        </p:nvSpPr>
        <p:spPr>
          <a:xfrm>
            <a:off x="838200" y="6357938"/>
            <a:ext cx="2743200" cy="365125"/>
          </a:xfrm>
          <a:prstGeom prst="rect">
            <a:avLst/>
          </a:prstGeom>
        </p:spPr>
        <p:txBody>
          <a:bodyPr vert="horz" lIns="91440" tIns="45720" rIns="91440" bIns="45720" rtlCol="0" anchor="ct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3" name="页脚占位符 2"/>
          <p:cNvSpPr>
            <a:spLocks noGrp="1"/>
          </p:cNvSpPr>
          <p:nvPr>
            <p:ph type="ftr" sz="quarter" idx="11"/>
          </p:nvPr>
        </p:nvSpPr>
        <p:spPr>
          <a:xfrm>
            <a:off x="4038600" y="6357938"/>
            <a:ext cx="4114800" cy="365125"/>
          </a:xfrm>
          <a:prstGeom prst="rect">
            <a:avLst/>
          </a:prstGeom>
        </p:spPr>
        <p:txBody>
          <a:bodyPr vert="horz" lIns="91440" tIns="45720" rIns="91440" bIns="45720" rtlCol="0" anchor="ctr"/>
          <a:lstStyle/>
          <a:p>
            <a:pPr fontAlgn="base"/>
            <a:endParaRPr lang="zh-CN" altLang="en-US" strike="noStrike" noProof="1"/>
          </a:p>
        </p:txBody>
      </p:sp>
      <p:sp>
        <p:nvSpPr>
          <p:cNvPr id="4" name="灯片编号占位符 3"/>
          <p:cNvSpPr>
            <a:spLocks noGrp="1"/>
          </p:cNvSpPr>
          <p:nvPr>
            <p:ph type="sldNum" sz="quarter" idx="12"/>
          </p:nvPr>
        </p:nvSpPr>
        <p:spPr>
          <a:xfrm>
            <a:off x="8610600" y="6357938"/>
            <a:ext cx="2743200" cy="365125"/>
          </a:xfrm>
          <a:prstGeom prst="rect">
            <a:avLst/>
          </a:prstGeom>
        </p:spPr>
        <p:txBody>
          <a:bodyPr vert="horz" lIns="91440" tIns="45720" rIns="91440" bIns="45720" rtlCol="0" anchor="ct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25602" name="Rektangel 62"/>
          <p:cNvSpPr/>
          <p:nvPr userDrawn="1"/>
        </p:nvSpPr>
        <p:spPr>
          <a:xfrm flipV="1">
            <a:off x="-1587" y="1588"/>
            <a:ext cx="12192000" cy="835025"/>
          </a:xfrm>
          <a:prstGeom prst="rect">
            <a:avLst/>
          </a:prstGeom>
          <a:gradFill rotWithShape="1">
            <a:gsLst>
              <a:gs pos="0">
                <a:srgbClr val="F3F3F3">
                  <a:alpha val="100000"/>
                </a:srgbClr>
              </a:gs>
              <a:gs pos="48000">
                <a:srgbClr val="F3F3F3">
                  <a:alpha val="100000"/>
                </a:srgbClr>
              </a:gs>
              <a:gs pos="69000">
                <a:srgbClr val="F3F3F3">
                  <a:alpha val="100000"/>
                </a:srgbClr>
              </a:gs>
              <a:gs pos="100000">
                <a:srgbClr val="BFBFBF">
                  <a:alpha val="100000"/>
                </a:srgbClr>
              </a:gs>
            </a:gsLst>
            <a:lin ang="5400000" scaled="1"/>
            <a:tileRect/>
          </a:gradFill>
          <a:ln w="9525">
            <a:noFill/>
          </a:ln>
          <a:effectLst>
            <a:outerShdw dist="23000" dir="5400000" rotWithShape="0">
              <a:srgbClr val="808080">
                <a:alpha val="34998"/>
              </a:srgbClr>
            </a:outerShdw>
          </a:effectLst>
        </p:spPr>
        <p:txBody>
          <a:bodyPr anchor="ctr" anchorCtr="0"/>
          <a:lstStyle/>
          <a:p>
            <a:pPr lvl="0" algn="ctr" eaLnBrk="0" hangingPunct="0"/>
            <a:endParaRPr lang="en-US" altLang="zh-CN" sz="1800">
              <a:solidFill>
                <a:srgbClr val="FFFFFF"/>
              </a:solidFill>
              <a:latin typeface="微软雅黑" panose="020B0503020204020204" charset="-122"/>
            </a:endParaRPr>
          </a:p>
        </p:txBody>
      </p:sp>
      <p:cxnSp>
        <p:nvCxnSpPr>
          <p:cNvPr id="5" name="直接连接符 4"/>
          <p:cNvCxnSpPr/>
          <p:nvPr userDrawn="1"/>
        </p:nvCxnSpPr>
        <p:spPr>
          <a:xfrm>
            <a:off x="1582738" y="836613"/>
            <a:ext cx="10609263" cy="1588"/>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5604" name="Rektangel 62"/>
          <p:cNvSpPr/>
          <p:nvPr userDrawn="1"/>
        </p:nvSpPr>
        <p:spPr>
          <a:xfrm flipV="1">
            <a:off x="-1587" y="1588"/>
            <a:ext cx="12192000" cy="835025"/>
          </a:xfrm>
          <a:prstGeom prst="rect">
            <a:avLst/>
          </a:prstGeom>
          <a:gradFill rotWithShape="1">
            <a:gsLst>
              <a:gs pos="0">
                <a:srgbClr val="F3F3F3">
                  <a:alpha val="100000"/>
                </a:srgbClr>
              </a:gs>
              <a:gs pos="48000">
                <a:srgbClr val="F3F3F3">
                  <a:alpha val="100000"/>
                </a:srgbClr>
              </a:gs>
              <a:gs pos="69000">
                <a:srgbClr val="F3F3F3">
                  <a:alpha val="100000"/>
                </a:srgbClr>
              </a:gs>
              <a:gs pos="100000">
                <a:srgbClr val="BFBFBF">
                  <a:alpha val="100000"/>
                </a:srgbClr>
              </a:gs>
            </a:gsLst>
            <a:lin ang="5400000" scaled="1"/>
            <a:tileRect/>
          </a:gradFill>
          <a:ln w="9525">
            <a:noFill/>
          </a:ln>
          <a:effectLst>
            <a:outerShdw dist="23000" dir="5400000" rotWithShape="0">
              <a:srgbClr val="808080">
                <a:alpha val="34998"/>
              </a:srgbClr>
            </a:outerShdw>
          </a:effectLst>
        </p:spPr>
        <p:txBody>
          <a:bodyPr anchor="ctr" anchorCtr="0"/>
          <a:lstStyle/>
          <a:p>
            <a:pPr lvl="0" algn="ctr" eaLnBrk="0" hangingPunct="0"/>
            <a:endParaRPr lang="en-US" altLang="zh-CN" sz="1800">
              <a:solidFill>
                <a:srgbClr val="FFFFFF"/>
              </a:solidFill>
              <a:latin typeface="微软雅黑" panose="020B0503020204020204" charset="-122"/>
            </a:endParaRPr>
          </a:p>
        </p:txBody>
      </p:sp>
      <p:cxnSp>
        <p:nvCxnSpPr>
          <p:cNvPr id="8" name="直接连接符 7"/>
          <p:cNvCxnSpPr/>
          <p:nvPr userDrawn="1"/>
        </p:nvCxnSpPr>
        <p:spPr>
          <a:xfrm>
            <a:off x="0" y="836613"/>
            <a:ext cx="12192000" cy="1588"/>
          </a:xfrm>
          <a:prstGeom prst="line">
            <a:avLst/>
          </a:prstGeom>
          <a:ln w="31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 name="内容占位符 2"/>
          <p:cNvSpPr>
            <a:spLocks noGrp="1"/>
          </p:cNvSpPr>
          <p:nvPr>
            <p:ph idx="1"/>
          </p:nvPr>
        </p:nvSpPr>
        <p:spPr>
          <a:xfrm>
            <a:off x="609600" y="1600201"/>
            <a:ext cx="10972801" cy="4525963"/>
          </a:xfrm>
        </p:spPr>
        <p:txBody>
          <a:bodyPr/>
          <a:lstStyle>
            <a:lvl2pPr>
              <a:defRPr sz="2400"/>
            </a:lvl2pPr>
            <a:lvl3pPr>
              <a:defRPr sz="2000"/>
            </a:lvl3pPr>
          </a:lstStyle>
          <a:p>
            <a:pPr lvl="0" fontAlgn="auto"/>
            <a:r>
              <a:rPr lang="zh-CN" altLang="en-US" strike="noStrike" noProof="1"/>
              <a:t>单击此处编辑母版文本样式</a:t>
            </a:r>
            <a:endParaRPr lang="zh-CN" altLang="en-US" strike="noStrike" noProof="1"/>
          </a:p>
          <a:p>
            <a:pPr lvl="1" fontAlgn="auto"/>
            <a:r>
              <a:rPr lang="zh-CN" altLang="en-US" strike="noStrike" noProof="1"/>
              <a:t>第二级</a:t>
            </a:r>
            <a:endParaRPr lang="zh-CN" altLang="en-US" strike="noStrike" noProof="1"/>
          </a:p>
          <a:p>
            <a:pPr lvl="2" fontAlgn="auto"/>
            <a:r>
              <a:rPr lang="zh-CN" altLang="en-US" strike="noStrike" noProof="1"/>
              <a:t>第三级</a:t>
            </a:r>
            <a:endParaRPr lang="zh-CN" altLang="en-US" strike="noStrike" noProof="1"/>
          </a:p>
          <a:p>
            <a:pPr lvl="3" fontAlgn="auto"/>
            <a:r>
              <a:rPr lang="zh-CN" altLang="en-US" strike="noStrike" noProof="1"/>
              <a:t>第四级</a:t>
            </a:r>
            <a:endParaRPr lang="zh-CN" altLang="en-US" strike="noStrike" noProof="1"/>
          </a:p>
          <a:p>
            <a:pPr lvl="4" fontAlgn="auto"/>
            <a:r>
              <a:rPr lang="zh-CN" altLang="en-US" strike="noStrike" noProof="1"/>
              <a:t>第五级</a:t>
            </a:r>
            <a:endParaRPr lang="zh-CN" altLang="en-US" strike="noStrike" noProof="1"/>
          </a:p>
        </p:txBody>
      </p:sp>
      <p:sp>
        <p:nvSpPr>
          <p:cNvPr id="10" name="日期占位符 3"/>
          <p:cNvSpPr>
            <a:spLocks noGrp="1"/>
          </p:cNvSpPr>
          <p:nvPr>
            <p:ph type="dt" sz="half" idx="10"/>
          </p:nvPr>
        </p:nvSpPr>
        <p:spPr>
          <a:xfrm>
            <a:off x="609600" y="6356350"/>
            <a:ext cx="2844800" cy="365125"/>
          </a:xfrm>
          <a:prstGeom prst="rect">
            <a:avLst/>
          </a:prstGeom>
        </p:spPr>
        <p:txBody>
          <a:bodyPr vert="horz" lIns="91440" tIns="45720" rIns="91440" bIns="45720" rtlCol="0" anchor="ctr"/>
          <a:lstStyle>
            <a:lvl1pPr>
              <a:defRPr/>
            </a:lvl1pPr>
          </a:lstStyle>
          <a:p>
            <a:pPr fontAlgn="base">
              <a:defRPr/>
            </a:pPr>
            <a:fld id="{85490DD4-95FB-43E6-B685-923F2582D95E}"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1" name="页脚占位符 4"/>
          <p:cNvSpPr>
            <a:spLocks noGrp="1"/>
          </p:cNvSpPr>
          <p:nvPr>
            <p:ph type="ftr" sz="quarter" idx="11"/>
          </p:nvPr>
        </p:nvSpPr>
        <p:spPr>
          <a:xfrm>
            <a:off x="4165600" y="6356350"/>
            <a:ext cx="3860800" cy="365125"/>
          </a:xfrm>
          <a:prstGeom prst="rect">
            <a:avLst/>
          </a:prstGeom>
        </p:spPr>
        <p:txBody>
          <a:bodyPr vert="horz" lIns="91440" tIns="45720" rIns="91440" bIns="45720" rtlCol="0" anchor="ctr"/>
          <a:lstStyle>
            <a:lvl1pPr>
              <a:defRPr/>
            </a:lvl1pPr>
          </a:lstStyle>
          <a:p>
            <a:pPr fontAlgn="base">
              <a:defRPr/>
            </a:pPr>
            <a:endParaRPr lang="zh-CN" altLang="en-US" strike="noStrike" noProof="1"/>
          </a:p>
        </p:txBody>
      </p:sp>
      <p:sp>
        <p:nvSpPr>
          <p:cNvPr id="12" name="灯片编号占位符 5"/>
          <p:cNvSpPr>
            <a:spLocks noGrp="1"/>
          </p:cNvSpPr>
          <p:nvPr>
            <p:ph type="sldNum" sz="quarter" idx="12"/>
          </p:nvPr>
        </p:nvSpPr>
        <p:spPr>
          <a:xfrm>
            <a:off x="8737600" y="6356350"/>
            <a:ext cx="2844800" cy="365125"/>
          </a:xfrm>
          <a:prstGeom prst="rect">
            <a:avLst/>
          </a:prstGeom>
        </p:spPr>
        <p:txBody>
          <a:bodyPr vert="horz" lIns="91440" tIns="45720" rIns="91440" bIns="45720" rtlCol="0" anchor="ctr"/>
          <a:lstStyle>
            <a:lvl1pPr>
              <a:defRPr/>
            </a:lvl1pPr>
          </a:lstStyle>
          <a:p>
            <a:pPr fontAlgn="base">
              <a:defRPr/>
            </a:pPr>
            <a:fld id="{958D40FD-D813-45F8-8077-395BE2C3DBF9}" type="slidenum">
              <a:rPr lang="zh-CN" altLang="en-US" strike="noStrike" noProof="1">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Ovr>
    <a:masterClrMapping/>
  </p:clrMapOvr>
  <p:transition>
    <p:pull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椭圆 5"/>
          <p:cNvSpPr/>
          <p:nvPr userDrawn="1">
            <p:custDataLst>
              <p:tags r:id="rId2"/>
            </p:custDataLst>
          </p:nvPr>
        </p:nvSpPr>
        <p:spPr>
          <a:xfrm>
            <a:off x="953287" y="804067"/>
            <a:ext cx="5402267" cy="54022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0" name="弧形 9"/>
          <p:cNvSpPr/>
          <p:nvPr userDrawn="1">
            <p:custDataLst>
              <p:tags r:id="rId3"/>
            </p:custDataLst>
          </p:nvPr>
        </p:nvSpPr>
        <p:spPr>
          <a:xfrm>
            <a:off x="4200607" y="1800369"/>
            <a:ext cx="3577425" cy="3577425"/>
          </a:xfrm>
          <a:prstGeom prst="arc">
            <a:avLst>
              <a:gd name="adj1" fmla="val 16386768"/>
              <a:gd name="adj2" fmla="val 16114273"/>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2" name="标题 1"/>
          <p:cNvSpPr>
            <a:spLocks noGrp="1"/>
          </p:cNvSpPr>
          <p:nvPr>
            <p:ph type="title" hasCustomPrompt="1"/>
            <p:custDataLst>
              <p:tags r:id="rId4"/>
            </p:custDataLst>
          </p:nvPr>
        </p:nvSpPr>
        <p:spPr>
          <a:xfrm>
            <a:off x="1071155" y="2662659"/>
            <a:ext cx="5284399" cy="1179607"/>
          </a:xfrm>
        </p:spPr>
        <p:txBody>
          <a:bodyPr vert="horz" lIns="90000" tIns="46800" rIns="90000" bIns="0" rtlCol="0" anchor="b" anchorCtr="0">
            <a:normAutofit/>
          </a:bodyPr>
          <a:lstStyle>
            <a:lvl1pPr marL="0" marR="0" algn="ctr" defTabSz="914400" rtl="0" eaLnBrk="1" fontAlgn="auto" latinLnBrk="0" hangingPunct="1">
              <a:lnSpc>
                <a:spcPct val="100000"/>
              </a:lnSpc>
              <a:buNone/>
              <a:defRPr kumimoji="0" lang="zh-CN" altLang="en-US" sz="7200" b="1" i="0" u="none" strike="noStrike" kern="1200" cap="none" spc="600" normalizeH="0" baseline="0" noProof="1" dirty="0">
                <a:solidFill>
                  <a:schemeClr val="accent1"/>
                </a:solidFill>
                <a:uFillTx/>
                <a:latin typeface="Arial" panose="020B0604020202020204" pitchFamily="34" charset="0"/>
                <a:ea typeface="汉仪旗黑-85S" panose="00020600040101010101" pitchFamily="18" charset="-122"/>
                <a:cs typeface="+mj-cs"/>
                <a:sym typeface="+mn-ea"/>
              </a:defRPr>
            </a:lvl1pPr>
          </a:lstStyle>
          <a:p>
            <a:pPr lvl="0"/>
            <a:r>
              <a:rPr dirty="0">
                <a:sym typeface="+mn-ea"/>
              </a:rPr>
              <a:t>编辑标题</a:t>
            </a:r>
            <a:endParaRPr dirty="0">
              <a:sym typeface="+mn-ea"/>
            </a:endParaRPr>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
        <p:nvSpPr>
          <p:cNvPr id="12" name="文本占位符 11"/>
          <p:cNvSpPr>
            <a:spLocks noGrp="1"/>
          </p:cNvSpPr>
          <p:nvPr>
            <p:ph type="body" sz="quarter" idx="16" hasCustomPrompt="1"/>
            <p:custDataLst>
              <p:tags r:id="rId8"/>
            </p:custDataLst>
          </p:nvPr>
        </p:nvSpPr>
        <p:spPr>
          <a:xfrm>
            <a:off x="1071155" y="3950373"/>
            <a:ext cx="5284399" cy="819151"/>
          </a:xfrm>
        </p:spPr>
        <p:txBody>
          <a:bodyPr lIns="90000" tIns="46800" rIns="90000" bIns="46800"/>
          <a:lstStyle>
            <a:lvl1pPr marL="0" indent="0" algn="ctr">
              <a:buNone/>
              <a:defRPr baseline="0"/>
            </a:lvl1pPr>
            <a:lvl2pPr marL="457200" indent="0">
              <a:buNone/>
              <a:defRPr/>
            </a:lvl2pPr>
          </a:lstStyle>
          <a:p>
            <a:pPr lvl="0"/>
            <a:r>
              <a:rPr lang="zh-CN" altLang="en-US" dirty="0"/>
              <a:t>单击此处编辑文本</a:t>
            </a:r>
            <a:endParaRPr lang="zh-CN" altLang="en-US" dirty="0"/>
          </a:p>
        </p:txBody>
      </p:sp>
      <p:pic>
        <p:nvPicPr>
          <p:cNvPr id="8" name="图片 7" descr="09.02.1(1)"/>
          <p:cNvPicPr>
            <a:picLocks noChangeAspect="1"/>
          </p:cNvPicPr>
          <p:nvPr userDrawn="1"/>
        </p:nvPicPr>
        <p:blipFill>
          <a:blip r:embed="rId9"/>
          <a:stretch>
            <a:fillRect/>
          </a:stretch>
        </p:blipFill>
        <p:spPr>
          <a:xfrm>
            <a:off x="10776585" y="190500"/>
            <a:ext cx="1237615" cy="625475"/>
          </a:xfrm>
          <a:prstGeom prst="rect">
            <a:avLst/>
          </a:prstGeom>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标题幻灯片">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ctrTitle" hasCustomPrompt="1"/>
            <p:custDataLst>
              <p:tags r:id="rId2"/>
            </p:custDataLst>
          </p:nvPr>
        </p:nvSpPr>
        <p:spPr>
          <a:xfrm>
            <a:off x="1198800" y="914400"/>
            <a:ext cx="9799200" cy="2570400"/>
          </a:xfrm>
        </p:spPr>
        <p:txBody>
          <a:bodyPr lIns="90000" tIns="46800" rIns="90000" bIns="46800" anchor="b" anchorCtr="0">
            <a:normAutofit/>
          </a:bodyPr>
          <a:lstStyle>
            <a:lvl1pPr algn="ctr">
              <a:defRPr sz="6000" b="1" i="0" spc="300" baseline="0">
                <a:solidFill>
                  <a:schemeClr val="tx1">
                    <a:lumMod val="85000"/>
                    <a:lumOff val="15000"/>
                  </a:schemeClr>
                </a:solidFill>
                <a:effectLst/>
              </a:defRPr>
            </a:lvl1pPr>
          </a:lstStyle>
          <a:p>
            <a:r>
              <a:rPr lang="zh-CN" altLang="en-US" dirty="0"/>
              <a:t>单击此处编辑标题</a:t>
            </a:r>
            <a:endParaRPr lang="zh-CN" altLang="en-US" dirty="0"/>
          </a:p>
        </p:txBody>
      </p:sp>
      <p:sp>
        <p:nvSpPr>
          <p:cNvPr id="3" name="副标题 2"/>
          <p:cNvSpPr>
            <a:spLocks noGrp="1"/>
          </p:cNvSpPr>
          <p:nvPr>
            <p:ph type="subTitle" idx="1" hasCustomPrompt="1"/>
            <p:custDataLst>
              <p:tags r:id="rId3"/>
            </p:custDataLst>
          </p:nvPr>
        </p:nvSpPr>
        <p:spPr>
          <a:xfrm>
            <a:off x="1198800" y="3560400"/>
            <a:ext cx="9799200" cy="1472400"/>
          </a:xfrm>
        </p:spPr>
        <p:txBody>
          <a:bodyPr lIns="90000" tIns="46800" rIns="90000" bIns="46800">
            <a:normAutofit/>
          </a:bodyPr>
          <a:lstStyle>
            <a:lvl1pPr marL="0" indent="0" algn="ctr" eaLnBrk="1" fontAlgn="auto" latinLnBrk="0" hangingPunct="1">
              <a:lnSpc>
                <a:spcPct val="110000"/>
              </a:lnSpc>
              <a:buNone/>
              <a:defRPr sz="2400" u="none" strike="noStrike" kern="1200" cap="none" spc="200" normalizeH="0" baseline="0">
                <a:solidFill>
                  <a:schemeClr val="tx1">
                    <a:lumMod val="65000"/>
                    <a:lumOff val="35000"/>
                  </a:schemeClr>
                </a:solidFill>
                <a:uFillTx/>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副标题</a:t>
            </a:r>
            <a:endParaRPr lang="zh-CN" altLang="en-US" dirty="0"/>
          </a:p>
        </p:txBody>
      </p:sp>
      <p:sp>
        <p:nvSpPr>
          <p:cNvPr id="16" name="日期占位符 15"/>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17" name="页脚占位符 16"/>
          <p:cNvSpPr>
            <a:spLocks noGrp="1"/>
          </p:cNvSpPr>
          <p:nvPr>
            <p:ph type="ftr" sz="quarter" idx="11"/>
            <p:custDataLst>
              <p:tags r:id="rId5"/>
            </p:custDataLst>
          </p:nvPr>
        </p:nvSpPr>
        <p:spPr/>
        <p:txBody>
          <a:bodyPr/>
          <a:lstStyle/>
          <a:p>
            <a:endParaRPr lang="zh-CN" altLang="en-US" dirty="0"/>
          </a:p>
        </p:txBody>
      </p:sp>
      <p:sp>
        <p:nvSpPr>
          <p:cNvPr id="18" name="灯片编号占位符 17"/>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dirty="0"/>
          </a:p>
        </p:txBody>
      </p:sp>
      <p:pic>
        <p:nvPicPr>
          <p:cNvPr id="7" name="图片 6" descr="15"/>
          <p:cNvPicPr>
            <a:picLocks noChangeAspect="1"/>
          </p:cNvPicPr>
          <p:nvPr userDrawn="1"/>
        </p:nvPicPr>
        <p:blipFill>
          <a:blip r:embed="rId7"/>
          <a:stretch>
            <a:fillRect/>
          </a:stretch>
        </p:blipFill>
        <p:spPr>
          <a:xfrm>
            <a:off x="2560892" y="5688330"/>
            <a:ext cx="7063870" cy="474345"/>
          </a:xfrm>
          <a:prstGeom prst="rect">
            <a:avLst/>
          </a:prstGeom>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标题和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idx="1"/>
            <p:custDataLst>
              <p:tags r:id="rId3"/>
            </p:custDataLst>
          </p:nvPr>
        </p:nvSpPr>
        <p:spPr>
          <a:xfrm>
            <a:off x="608400" y="1490400"/>
            <a:ext cx="10969200" cy="47592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8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vl6pPr marL="2286000" indent="0">
              <a:buNone/>
              <a:defRPr/>
            </a:lvl6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节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custDataLst>
              <p:tags r:id="rId2"/>
            </p:custDataLst>
          </p:nvPr>
        </p:nvSpPr>
        <p:spPr>
          <a:xfrm>
            <a:off x="1990800" y="3848400"/>
            <a:ext cx="7768800" cy="766800"/>
          </a:xfrm>
        </p:spPr>
        <p:txBody>
          <a:bodyPr lIns="90000" tIns="46800" rIns="90000" bIns="46800" anchor="b" anchorCtr="0">
            <a:normAutofit/>
          </a:bodyPr>
          <a:lstStyle>
            <a:lvl1pPr>
              <a:defRPr sz="4400" b="1" i="0" u="none" strike="noStrike" kern="1200" cap="none" spc="300" normalizeH="0" baseline="0">
                <a:solidFill>
                  <a:schemeClr val="tx1">
                    <a:lumMod val="85000"/>
                    <a:lumOff val="15000"/>
                  </a:schemeClr>
                </a:solidFill>
                <a:effectLst/>
                <a:uFillTx/>
              </a:defRPr>
            </a:lvl1pPr>
          </a:lstStyle>
          <a:p>
            <a:r>
              <a:rPr lang="zh-CN" altLang="en-US" dirty="0"/>
              <a:t>单击此处编辑标题</a:t>
            </a:r>
            <a:endParaRPr lang="zh-CN" altLang="en-US" dirty="0"/>
          </a:p>
        </p:txBody>
      </p:sp>
      <p:sp>
        <p:nvSpPr>
          <p:cNvPr id="3" name="文本占位符 2"/>
          <p:cNvSpPr>
            <a:spLocks noGrp="1"/>
          </p:cNvSpPr>
          <p:nvPr>
            <p:ph type="body" idx="1" hasCustomPrompt="1"/>
            <p:custDataLst>
              <p:tags r:id="rId3"/>
            </p:custDataLst>
          </p:nvPr>
        </p:nvSpPr>
        <p:spPr>
          <a:xfrm>
            <a:off x="1990800" y="4615200"/>
            <a:ext cx="7768800" cy="867600"/>
          </a:xfrm>
        </p:spPr>
        <p:txBody>
          <a:bodyPr lIns="90000" tIns="46800" rIns="90000" bIns="46800">
            <a:normAutofit/>
          </a:bodyPr>
          <a:lstStyle>
            <a:lvl1pPr marL="0" indent="0" eaLnBrk="1" fontAlgn="auto" latinLnBrk="0" hangingPunct="1">
              <a:lnSpc>
                <a:spcPct val="130000"/>
              </a:lnSpc>
              <a:buNone/>
              <a:defRPr kumimoji="0" lang="zh-CN" altLang="en-US" sz="1800" b="0" i="0" u="none" strike="noStrike" kern="1200" cap="none" spc="150" normalizeH="0" baseline="0" noProof="1">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文本</a:t>
            </a:r>
            <a:endParaRPr lang="zh-CN" altLang="en-US" dirty="0"/>
          </a:p>
        </p:txBody>
      </p:sp>
      <p:sp>
        <p:nvSpPr>
          <p:cNvPr id="4" name="日期占位符 3"/>
          <p:cNvSpPr>
            <a:spLocks noGrp="1"/>
          </p:cNvSpPr>
          <p:nvPr>
            <p:ph type="dt" sz="half" idx="10"/>
            <p:custDataLst>
              <p:tags r:id="rId4"/>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5"/>
            </p:custDataLst>
          </p:nvPr>
        </p:nvSpPr>
        <p:spPr/>
        <p:txBody>
          <a:bodyPr/>
          <a:lstStyle/>
          <a:p>
            <a:endParaRPr lang="zh-CN" altLang="en-US"/>
          </a:p>
        </p:txBody>
      </p:sp>
      <p:sp>
        <p:nvSpPr>
          <p:cNvPr id="6" name="灯片编号占位符 5"/>
          <p:cNvSpPr>
            <a:spLocks noGrp="1"/>
          </p:cNvSpPr>
          <p:nvPr>
            <p:ph type="sldNum" sz="quarter" idx="12"/>
            <p:custDataLst>
              <p:tags r:id="rId6"/>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两栏内容">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内容占位符 2"/>
          <p:cNvSpPr>
            <a:spLocks noGrp="1"/>
          </p:cNvSpPr>
          <p:nvPr>
            <p:ph sz="half" idx="1"/>
            <p:custDataLst>
              <p:tags r:id="rId3"/>
            </p:custDataLst>
          </p:nvPr>
        </p:nvSpPr>
        <p:spPr>
          <a:xfrm>
            <a:off x="608400" y="1501200"/>
            <a:ext cx="5176800" cy="4748400"/>
          </a:xfrm>
        </p:spPr>
        <p:txBody>
          <a:bodyPr vert="horz" lIns="90000" tIns="46800" rIns="90000" bIns="4680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4" name="内容占位符 3"/>
          <p:cNvSpPr>
            <a:spLocks noGrp="1"/>
          </p:cNvSpPr>
          <p:nvPr>
            <p:ph sz="half" idx="2"/>
            <p:custDataLst>
              <p:tags r:id="rId4"/>
            </p:custDataLst>
          </p:nvPr>
        </p:nvSpPr>
        <p:spPr>
          <a:xfrm>
            <a:off x="6411600" y="1501200"/>
            <a:ext cx="5176800" cy="4748400"/>
          </a:xfrm>
        </p:spPr>
        <p:txBody>
          <a:bodyPr lIns="90000" tIns="46800" rIns="90000" bIns="46800">
            <a:normAutofit/>
          </a:bodyPr>
          <a:lstStyle>
            <a:lvl1pPr marL="228600" indent="-228600" eaLnBrk="1" fontAlgn="auto" latinLnBrk="0" hangingPunct="1">
              <a:lnSpc>
                <a:spcPct val="130000"/>
              </a:lnSpc>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2pPr>
            <a:lvl3pPr marL="1143000" indent="-228600" eaLnBrk="1" fontAlgn="auto" latinLnBrk="0" hangingPunct="1">
              <a:lnSpc>
                <a:spcPct val="120000"/>
              </a:lnSpc>
              <a:buFont typeface="Arial" panose="020B0604020202020204" pitchFamily="34" charset="0"/>
              <a:buChar char="●"/>
              <a:defRPr sz="16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3pPr>
            <a:lvl4pPr marL="1600200" indent="-228600" eaLnBrk="1" fontAlgn="auto" latinLnBrk="0" hangingPunct="1">
              <a:lnSpc>
                <a:spcPct val="120000"/>
              </a:lnSpc>
              <a:buFont typeface="Wingdings" panose="05000000000000000000" charset="0"/>
              <a:buChar char=""/>
              <a:defRPr sz="1400" u="none" strike="noStrike" kern="1200" cap="none" spc="150" normalizeH="0" baseline="0">
                <a:solidFill>
                  <a:schemeClr val="tx1">
                    <a:lumMod val="65000"/>
                    <a:lumOff val="35000"/>
                  </a:schemeClr>
                </a:solidFill>
                <a:latin typeface="Arial" panose="020B0604020202020204" pitchFamily="34" charset="0"/>
                <a:ea typeface="微软雅黑" panose="020B0503020204020204" charset="-122"/>
              </a:defRPr>
            </a:lvl4pPr>
            <a:lvl5pPr eaLnBrk="1" fontAlgn="auto" latinLnBrk="0" hangingPunct="1">
              <a:lnSpc>
                <a:spcPct val="120000"/>
              </a:lnSpc>
              <a:defRPr sz="1400" u="none" strike="noStrike" kern="1200" cap="none" spc="150" normalizeH="0">
                <a:solidFill>
                  <a:schemeClr val="tx1">
                    <a:lumMod val="65000"/>
                    <a:lumOff val="35000"/>
                  </a:schemeClr>
                </a:solidFill>
                <a:latin typeface="Arial" panose="020B0604020202020204" pitchFamily="34" charset="0"/>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5" name="日期占位符 4"/>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6" name="页脚占位符 5"/>
          <p:cNvSpPr>
            <a:spLocks noGrp="1"/>
          </p:cNvSpPr>
          <p:nvPr>
            <p:ph type="ftr" sz="quarter" idx="11"/>
            <p:custDataLst>
              <p:tags r:id="rId6"/>
            </p:custDataLst>
          </p:nvPr>
        </p:nvSpPr>
        <p:spPr/>
        <p:txBody>
          <a:bodyPr/>
          <a:lstStyle/>
          <a:p>
            <a:endParaRPr lang="zh-CN" altLang="en-US"/>
          </a:p>
        </p:txBody>
      </p:sp>
      <p:sp>
        <p:nvSpPr>
          <p:cNvPr id="7" name="灯片编号占位符 6"/>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比较">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dirty="0">
                <a:sym typeface="+mn-ea"/>
              </a:rPr>
              <a:t>单击此处编辑母版标题样式</a:t>
            </a:r>
            <a:endParaRPr dirty="0">
              <a:sym typeface="+mn-ea"/>
            </a:endParaRPr>
          </a:p>
        </p:txBody>
      </p:sp>
      <p:sp>
        <p:nvSpPr>
          <p:cNvPr id="3" name="文本占位符 2"/>
          <p:cNvSpPr>
            <a:spLocks noGrp="1"/>
          </p:cNvSpPr>
          <p:nvPr>
            <p:ph type="body" idx="1" hasCustomPrompt="1"/>
            <p:custDataLst>
              <p:tags r:id="rId3"/>
            </p:custDataLst>
          </p:nvPr>
        </p:nvSpPr>
        <p:spPr>
          <a:xfrm>
            <a:off x="608400" y="1429200"/>
            <a:ext cx="5342400" cy="381600"/>
          </a:xfrm>
        </p:spPr>
        <p:txBody>
          <a:bodyPr lIns="101600" tIns="38100" rIns="76200" bIns="38100" anchor="t" anchorCtr="0">
            <a:normAutofit/>
          </a:bodyPr>
          <a:lstStyle>
            <a:lvl1pPr marL="0" indent="0" eaLnBrk="1" fontAlgn="auto" latinLnBrk="0" hangingPunct="1">
              <a:lnSpc>
                <a:spcPct val="100000"/>
              </a:lnSpc>
              <a:spcAft>
                <a:spcPts val="0"/>
              </a:spcAft>
              <a:buNone/>
              <a:defRPr sz="2000" b="1" u="none" strike="noStrike" kern="1200" cap="none" spc="200" normalizeH="0" baseline="0">
                <a:solidFill>
                  <a:schemeClr val="tx1">
                    <a:lumMod val="75000"/>
                    <a:lumOff val="25000"/>
                  </a:schemeClr>
                </a:solidFill>
                <a:uFillTx/>
                <a:latin typeface="Arial" panose="020B0604020202020204" pitchFamily="34" charset="0"/>
                <a:ea typeface="微软雅黑" panose="020B0503020204020204"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文本</a:t>
            </a:r>
            <a:endParaRPr lang="zh-CN" altLang="en-US" dirty="0"/>
          </a:p>
        </p:txBody>
      </p:sp>
      <p:sp>
        <p:nvSpPr>
          <p:cNvPr id="4" name="内容占位符 3"/>
          <p:cNvSpPr>
            <a:spLocks noGrp="1"/>
          </p:cNvSpPr>
          <p:nvPr>
            <p:ph sz="half" idx="2"/>
            <p:custDataLst>
              <p:tags r:id="rId4"/>
            </p:custDataLst>
          </p:nvPr>
        </p:nvSpPr>
        <p:spPr>
          <a:xfrm>
            <a:off x="608400" y="1854000"/>
            <a:ext cx="53424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5" name="文本占位符 4"/>
          <p:cNvSpPr>
            <a:spLocks noGrp="1"/>
          </p:cNvSpPr>
          <p:nvPr>
            <p:ph type="body" sz="quarter" idx="3" hasCustomPrompt="1"/>
            <p:custDataLst>
              <p:tags r:id="rId5"/>
            </p:custDataLst>
          </p:nvPr>
        </p:nvSpPr>
        <p:spPr>
          <a:xfrm>
            <a:off x="6235750" y="1421729"/>
            <a:ext cx="5342400" cy="381600"/>
          </a:xfrm>
        </p:spPr>
        <p:txBody>
          <a:bodyPr vert="horz" lIns="101600" tIns="38100" rIns="76200" bIns="38100" rtlCol="0" anchor="t" anchorCtr="0">
            <a:normAutofit/>
          </a:bodyPr>
          <a:lstStyle>
            <a:lvl1pPr marL="0" marR="0" lvl="0" indent="0" algn="l" defTabSz="914400" rtl="0" eaLnBrk="1" fontAlgn="auto" latinLnBrk="0" hangingPunct="1">
              <a:lnSpc>
                <a:spcPct val="100000"/>
              </a:lnSpc>
              <a:spcBef>
                <a:spcPts val="0"/>
              </a:spcBef>
              <a:spcAft>
                <a:spcPts val="0"/>
              </a:spcAft>
              <a:buFont typeface="Arial" panose="020B0604020202020204" pitchFamily="34" charset="0"/>
              <a:buNone/>
              <a:defRPr kumimoji="0" lang="zh-CN" altLang="en-US" sz="2000" b="1" i="0" u="none" strike="noStrike" kern="1200" cap="none" spc="200" normalizeH="0" baseline="0" noProof="1" dirty="0">
                <a:solidFill>
                  <a:schemeClr val="tx1">
                    <a:lumMod val="75000"/>
                    <a:lumOff val="25000"/>
                  </a:schemeClr>
                </a:solidFill>
                <a:uFillTx/>
                <a:latin typeface="Arial" panose="020B0604020202020204" pitchFamily="34" charset="0"/>
                <a:ea typeface="微软雅黑" panose="020B0503020204020204" charset="-122"/>
                <a:cs typeface="+mn-cs"/>
                <a:sym typeface="+mn-ea"/>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sym typeface="+mn-ea"/>
              </a:rPr>
              <a:t>单击此处编辑文本</a:t>
            </a:r>
            <a:endParaRPr>
              <a:sym typeface="+mn-ea"/>
            </a:endParaRPr>
          </a:p>
        </p:txBody>
      </p:sp>
      <p:sp>
        <p:nvSpPr>
          <p:cNvPr id="6" name="内容占位符 5"/>
          <p:cNvSpPr>
            <a:spLocks noGrp="1"/>
          </p:cNvSpPr>
          <p:nvPr>
            <p:ph sz="quarter" idx="4"/>
            <p:custDataLst>
              <p:tags r:id="rId6"/>
            </p:custDataLst>
          </p:nvPr>
        </p:nvSpPr>
        <p:spPr>
          <a:xfrm>
            <a:off x="6235750" y="1854000"/>
            <a:ext cx="5342400" cy="4395600"/>
          </a:xfrm>
        </p:spPr>
        <p:txBody>
          <a:bodyPr vert="horz" lIns="101600" tIns="0" rIns="82550" bIns="0" rtlCol="0">
            <a:normAutofit/>
          </a:bodyPr>
          <a:lstStyle>
            <a:lvl1pPr marL="228600" marR="0" lvl="0" indent="-228600" algn="l" defTabSz="914400" rtl="0" eaLnBrk="1" fontAlgn="auto" latinLnBrk="0" hangingPunct="1">
              <a:lnSpc>
                <a:spcPct val="13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2pPr>
            <a:lvl3pPr marL="1143000" marR="0" lvl="2" indent="-228600" algn="l" defTabSz="914400" rtl="0" eaLnBrk="1" fontAlgn="auto" latinLnBrk="0" hangingPunct="1">
              <a:lnSpc>
                <a:spcPct val="120000"/>
              </a:lnSpc>
              <a:spcBef>
                <a:spcPts val="0"/>
              </a:spcBef>
              <a:spcAft>
                <a:spcPts val="600"/>
              </a:spcAft>
              <a:buFont typeface="Arial" panose="020B0604020202020204" pitchFamily="34" charset="0"/>
              <a:buChar char="●"/>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3pPr>
            <a:lvl4pPr marL="1600200" marR="0" lvl="3" indent="-228600" algn="l" defTabSz="914400" rtl="0" eaLnBrk="1" fontAlgn="auto" latinLnBrk="0" hangingPunct="1">
              <a:lnSpc>
                <a:spcPct val="120000"/>
              </a:lnSpc>
              <a:spcBef>
                <a:spcPts val="0"/>
              </a:spcBef>
              <a:spcAft>
                <a:spcPts val="300"/>
              </a:spcAft>
              <a:buFont typeface="Wingdings" panose="05000000000000000000"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4pPr>
            <a:lvl5pPr marL="2057400" marR="0" lvl="4" indent="-228600" algn="l" defTabSz="914400" rtl="0" eaLnBrk="1" fontAlgn="auto" latinLnBrk="0" hangingPunct="1">
              <a:lnSpc>
                <a:spcPct val="120000"/>
              </a:lnSpc>
              <a:spcBef>
                <a:spcPts val="0"/>
              </a:spcBef>
              <a:spcAft>
                <a:spcPts val="300"/>
              </a:spcAft>
              <a:buFont typeface="Arial" panose="020B0604020202020204" pitchFamily="34" charset="0"/>
              <a:buChar char="•"/>
              <a:defRPr kumimoji="0" lang="zh-CN" altLang="en-US" sz="14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5pPr>
          </a:lstStyle>
          <a:p>
            <a:pPr lvl="0"/>
            <a:r>
              <a:rPr dirty="0">
                <a:sym typeface="+mn-ea"/>
              </a:rPr>
              <a:t>单击此处编辑母版文本样式</a:t>
            </a:r>
            <a:endParaRPr dirty="0">
              <a:sym typeface="+mn-ea"/>
            </a:endParaRPr>
          </a:p>
          <a:p>
            <a:pPr lvl="1"/>
            <a:r>
              <a:rPr dirty="0">
                <a:sym typeface="+mn-ea"/>
              </a:rPr>
              <a:t>第二级</a:t>
            </a:r>
            <a:endParaRPr dirty="0">
              <a:sym typeface="+mn-ea"/>
            </a:endParaRPr>
          </a:p>
          <a:p>
            <a:pPr lvl="2"/>
            <a:r>
              <a:rPr dirty="0">
                <a:sym typeface="+mn-ea"/>
              </a:rPr>
              <a:t>第三级</a:t>
            </a:r>
            <a:endParaRPr dirty="0">
              <a:sym typeface="+mn-ea"/>
            </a:endParaRPr>
          </a:p>
          <a:p>
            <a:pPr lvl="3"/>
            <a:r>
              <a:rPr dirty="0">
                <a:sym typeface="+mn-ea"/>
              </a:rPr>
              <a:t>第四级</a:t>
            </a:r>
            <a:endParaRPr dirty="0">
              <a:sym typeface="+mn-ea"/>
            </a:endParaRPr>
          </a:p>
          <a:p>
            <a:pPr lvl="4"/>
            <a:r>
              <a:rPr dirty="0">
                <a:sym typeface="+mn-ea"/>
              </a:rPr>
              <a:t>第五级</a:t>
            </a:r>
            <a:endParaRPr dirty="0">
              <a:sym typeface="+mn-ea"/>
            </a:endParaRPr>
          </a:p>
        </p:txBody>
      </p:sp>
      <p:sp>
        <p:nvSpPr>
          <p:cNvPr id="7" name="日期占位符 6"/>
          <p:cNvSpPr>
            <a:spLocks noGrp="1"/>
          </p:cNvSpPr>
          <p:nvPr>
            <p:ph type="dt" sz="half" idx="10"/>
            <p:custDataLst>
              <p:tags r:id="rId7"/>
            </p:custDataLst>
          </p:nvPr>
        </p:nvSpPr>
        <p:spPr/>
        <p:txBody>
          <a:bodyPr/>
          <a:lstStyle/>
          <a:p>
            <a:fld id="{760FBDFE-C587-4B4C-A407-44438C67B59E}" type="datetimeFigureOut">
              <a:rPr lang="zh-CN" altLang="en-US" smtClean="0"/>
            </a:fld>
            <a:endParaRPr lang="zh-CN" altLang="en-US"/>
          </a:p>
        </p:txBody>
      </p:sp>
      <p:sp>
        <p:nvSpPr>
          <p:cNvPr id="8" name="页脚占位符 7"/>
          <p:cNvSpPr>
            <a:spLocks noGrp="1"/>
          </p:cNvSpPr>
          <p:nvPr>
            <p:ph type="ftr" sz="quarter" idx="11"/>
            <p:custDataLst>
              <p:tags r:id="rId8"/>
            </p:custDataLst>
          </p:nvPr>
        </p:nvSpPr>
        <p:spPr/>
        <p:txBody>
          <a:bodyPr/>
          <a:lstStyle/>
          <a:p>
            <a:endParaRPr lang="zh-CN" altLang="en-US"/>
          </a:p>
        </p:txBody>
      </p:sp>
      <p:sp>
        <p:nvSpPr>
          <p:cNvPr id="9" name="灯片编号占位符 8"/>
          <p:cNvSpPr>
            <a:spLocks noGrp="1"/>
          </p:cNvSpPr>
          <p:nvPr>
            <p:ph type="sldNum" sz="quarter" idx="12"/>
            <p:custDataLst>
              <p:tags r:id="rId9"/>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仅标题">
    <p:bg>
      <p:bgPr>
        <a:solidFill>
          <a:srgbClr val="FFFFFF"/>
        </a:solidFill>
        <a:effectLst/>
      </p:bgPr>
    </p:bg>
    <p:spTree>
      <p:nvGrpSpPr>
        <p:cNvPr id="1" name=""/>
        <p:cNvGrpSpPr/>
        <p:nvPr/>
      </p:nvGrpSpPr>
      <p:grpSpPr>
        <a:xfrm>
          <a:off x="0" y="0"/>
          <a:ext cx="0" cy="0"/>
          <a:chOff x="0" y="0"/>
          <a:chExt cx="0" cy="0"/>
        </a:xfrm>
      </p:grpSpPr>
      <p:sp>
        <p:nvSpPr>
          <p:cNvPr id="2" name="标题 1"/>
          <p:cNvSpPr>
            <a:spLocks noGrp="1"/>
          </p:cNvSpPr>
          <p:nvPr>
            <p:ph type="title"/>
            <p:custDataLst>
              <p:tags r:id="rId2"/>
            </p:custDataLst>
          </p:nvPr>
        </p:nvSpPr>
        <p:spPr>
          <a:xfrm>
            <a:off x="608400" y="608400"/>
            <a:ext cx="10969200" cy="705600"/>
          </a:xfrm>
        </p:spPr>
        <p:txBody>
          <a:bodyPr vert="horz" lIns="90000" tIns="46800" rIns="90000" bIns="46800" rtlCol="0" anchor="ctr" anchorCtr="0">
            <a:normAutofit/>
          </a:bodyPr>
          <a:lstStyle>
            <a:lvl1pPr marL="0" marR="0" lvl="0" algn="l" defTabSz="914400" rtl="0" eaLnBrk="1" fontAlgn="auto" latinLnBrk="0" hangingPunct="1">
              <a:lnSpc>
                <a:spcPct val="100000"/>
              </a:lnSpc>
              <a:buNone/>
              <a:defRPr kumimoji="0" lang="zh-CN" altLang="en-US" sz="3600" b="1" i="0" u="none" strike="noStrike" kern="1200" cap="none" spc="300" normalizeH="0" baseline="0" noProof="1" dirty="0">
                <a:solidFill>
                  <a:schemeClr val="tx1">
                    <a:lumMod val="85000"/>
                    <a:lumOff val="15000"/>
                  </a:schemeClr>
                </a:solidFill>
                <a:uFillTx/>
                <a:latin typeface="Arial" panose="020B0604020202020204" pitchFamily="34" charset="0"/>
                <a:ea typeface="微软雅黑" panose="020B0503020204020204" charset="-122"/>
                <a:cs typeface="+mj-cs"/>
                <a:sym typeface="+mn-ea"/>
              </a:defRPr>
            </a:lvl1pPr>
          </a:lstStyle>
          <a:p>
            <a:pPr lvl="0"/>
            <a:r>
              <a:rPr>
                <a:sym typeface="+mn-ea"/>
              </a:rPr>
              <a:t>单击此处编辑母版标题样式</a:t>
            </a:r>
            <a:endParaRPr>
              <a:sym typeface="+mn-ea"/>
            </a:endParaRPr>
          </a:p>
        </p:txBody>
      </p:sp>
      <p:sp>
        <p:nvSpPr>
          <p:cNvPr id="3" name="日期占位符 2"/>
          <p:cNvSpPr>
            <a:spLocks noGrp="1"/>
          </p:cNvSpPr>
          <p:nvPr>
            <p:ph type="dt" sz="half" idx="10"/>
            <p:custDataLst>
              <p:tags r:id="rId3"/>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4"/>
            </p:custDataLst>
          </p:nvPr>
        </p:nvSpPr>
        <p:spPr/>
        <p:txBody>
          <a:bodyPr/>
          <a:lstStyle/>
          <a:p>
            <a:endParaRPr lang="zh-CN" altLang="en-US"/>
          </a:p>
        </p:txBody>
      </p:sp>
      <p:sp>
        <p:nvSpPr>
          <p:cNvPr id="5" name="灯片编号占位符 4"/>
          <p:cNvSpPr>
            <a:spLocks noGrp="1"/>
          </p:cNvSpPr>
          <p:nvPr>
            <p:ph type="sldNum" sz="quarter" idx="12"/>
            <p:custDataLst>
              <p:tags r:id="rId5"/>
            </p:custDataLst>
          </p:nvPr>
        </p:nvSpPr>
        <p:spPr/>
        <p:txBody>
          <a:bodyPr/>
          <a:lstStyle/>
          <a:p>
            <a:fld id="{49AE70B2-8BF9-45C0-BB95-33D1B9D3A85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1051038" name="日期占位符 1"/>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578B9A80-8B57-403E-9ABD-5EF56E9E49B2}"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39" name="灯片编号占位符 3"/>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空白">
    <p:bg>
      <p:bgPr>
        <a:solidFill>
          <a:srgbClr val="FFFFFF"/>
        </a:solidFill>
        <a:effectLst/>
      </p:bgPr>
    </p:bg>
    <p:spTree>
      <p:nvGrpSpPr>
        <p:cNvPr id="1" name=""/>
        <p:cNvGrpSpPr/>
        <p:nvPr/>
      </p:nvGrpSpPr>
      <p:grpSpPr>
        <a:xfrm>
          <a:off x="0" y="0"/>
          <a:ext cx="0" cy="0"/>
          <a:chOff x="0" y="0"/>
          <a:chExt cx="0" cy="0"/>
        </a:xfrm>
      </p:grpSpPr>
      <p:pic>
        <p:nvPicPr>
          <p:cNvPr id="3" name="图片 2" descr="C:/Users/Administrator/Desktop/二维码宣传素材/二维码宣传素材_03.jpg二维码宣传素材_03"/>
          <p:cNvPicPr>
            <a:picLocks noChangeAspect="1"/>
          </p:cNvPicPr>
          <p:nvPr userDrawn="1">
            <p:custDataLst>
              <p:tags r:id="rId2"/>
            </p:custDataLst>
          </p:nvPr>
        </p:nvPicPr>
        <p:blipFill>
          <a:blip r:embed="rId3"/>
          <a:srcRect l="7774" r="7774"/>
          <a:stretch>
            <a:fillRect/>
          </a:stretch>
        </p:blipFill>
        <p:spPr>
          <a:xfrm>
            <a:off x="1554798" y="332740"/>
            <a:ext cx="9081770" cy="6048375"/>
          </a:xfrm>
          <a:prstGeom prst="rect">
            <a:avLst/>
          </a:prstGeom>
        </p:spPr>
      </p:pic>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图片与标题">
    <p:bg>
      <p:bgPr>
        <a:solidFill>
          <a:srgbClr val="FFFFFF"/>
        </a:solidFill>
        <a:effectLst/>
      </p:bgPr>
    </p:bg>
    <p:spTree>
      <p:nvGrpSpPr>
        <p:cNvPr id="1" name=""/>
        <p:cNvGrpSpPr/>
        <p:nvPr/>
      </p:nvGrpSpPr>
      <p:grpSpPr>
        <a:xfrm>
          <a:off x="0" y="0"/>
          <a:ext cx="0" cy="0"/>
          <a:chOff x="0" y="0"/>
          <a:chExt cx="0" cy="0"/>
        </a:xfrm>
      </p:grpSpPr>
      <p:sp>
        <p:nvSpPr>
          <p:cNvPr id="3" name="图片占位符 2"/>
          <p:cNvSpPr>
            <a:spLocks noGrp="1"/>
          </p:cNvSpPr>
          <p:nvPr>
            <p:ph type="pic" idx="1"/>
            <p:custDataLst>
              <p:tags r:id="rId2"/>
            </p:custDataLst>
          </p:nvPr>
        </p:nvSpPr>
        <p:spPr>
          <a:xfrm>
            <a:off x="608400" y="1555200"/>
            <a:ext cx="5233077"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1000"/>
              </a:spcAft>
              <a:buFont typeface="Arial" panose="020B0604020202020204" pitchFamily="34" charset="0"/>
              <a:buNone/>
              <a:defRPr kumimoji="0" lang="zh-CN" altLang="en-US" sz="1600" b="0" i="0" u="none" strike="noStrike" kern="1200" cap="none" spc="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685800" marR="0" lvl="1" indent="-228600" algn="l" defTabSz="914400" rtl="0" eaLnBrk="1" fontAlgn="auto" latinLnBrk="0" hangingPunct="1">
              <a:lnSpc>
                <a:spcPct val="130000"/>
              </a:lnSpc>
              <a:spcBef>
                <a:spcPts val="0"/>
              </a:spcBef>
              <a:spcAft>
                <a:spcPts val="1000"/>
              </a:spcAft>
              <a:buFont typeface="Arial" panose="020B0604020202020204" pitchFamily="34" charset="0"/>
              <a:buChar char="•"/>
              <a:tabLst>
                <a:tab pos="1609725" algn="l"/>
              </a:tabLst>
              <a:defRPr kumimoji="0" lang="zh-CN" altLang="en-US" sz="1600" b="0" i="0" u="none" strike="noStrike" kern="1200" cap="none" spc="150" normalizeH="0" baseline="0" noProof="1" dirty="0">
                <a:solidFill>
                  <a:schemeClr val="tx1"/>
                </a:solidFill>
                <a:uFillTx/>
                <a:latin typeface="+mn-lt"/>
                <a:ea typeface="+mn-ea"/>
                <a:cs typeface="+mn-cs"/>
                <a:sym typeface="+mn-ea"/>
              </a:defRPr>
            </a:lvl2pPr>
            <a:lvl3pPr marL="1143000" marR="0" lvl="2"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3pPr>
            <a:lvl4pPr marL="1600200" marR="0" lvl="3"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4pPr>
            <a:lvl5pPr marL="2057400" marR="0" lvl="4" indent="-228600" algn="l" defTabSz="914400" rtl="0" eaLnBrk="1" fontAlgn="auto" latinLnBrk="0" hangingPunct="1">
              <a:lnSpc>
                <a:spcPct val="130000"/>
              </a:lnSpc>
              <a:spcBef>
                <a:spcPts val="0"/>
              </a:spcBef>
              <a:spcAft>
                <a:spcPts val="1000"/>
              </a:spcAft>
              <a:buFont typeface="Arial" panose="020B0604020202020204" pitchFamily="34" charset="0"/>
              <a:buChar char="•"/>
              <a:defRPr kumimoji="0" lang="zh-CN" altLang="en-US" sz="1600" b="0" i="0" u="none" strike="noStrike" kern="1200" cap="none" spc="150" normalizeH="0" baseline="0" noProof="1" dirty="0">
                <a:solidFill>
                  <a:schemeClr val="tx1"/>
                </a:solidFill>
                <a:uFillTx/>
                <a:latin typeface="+mn-lt"/>
                <a:ea typeface="+mn-ea"/>
                <a:cs typeface="+mn-cs"/>
                <a:sym typeface="+mn-ea"/>
              </a:defRPr>
            </a:lvl5pPr>
          </a:lstStyle>
          <a:p>
            <a:pPr lvl="0"/>
            <a:endParaRPr dirty="0">
              <a:sym typeface="+mn-ea"/>
            </a:endParaRPr>
          </a:p>
        </p:txBody>
      </p:sp>
      <p:sp>
        <p:nvSpPr>
          <p:cNvPr id="4" name="文本占位符 3"/>
          <p:cNvSpPr>
            <a:spLocks noGrp="1"/>
          </p:cNvSpPr>
          <p:nvPr>
            <p:ph type="body" sz="half" idx="2"/>
            <p:custDataLst>
              <p:tags r:id="rId3"/>
            </p:custDataLst>
          </p:nvPr>
        </p:nvSpPr>
        <p:spPr>
          <a:xfrm>
            <a:off x="6350401" y="1555200"/>
            <a:ext cx="5227200" cy="4608000"/>
          </a:xfrm>
        </p:spPr>
        <p:txBody>
          <a:bodyPr vert="horz" lIns="90000" tIns="46800" rIns="90000" bIns="46800" rtlCol="0">
            <a:normAutofit/>
          </a:bodyPr>
          <a:lstStyle>
            <a:lvl1pPr marL="0" marR="0" lvl="0" indent="0" algn="l" defTabSz="914400" rtl="0" eaLnBrk="1" fontAlgn="auto" latinLnBrk="0" hangingPunct="1">
              <a:lnSpc>
                <a:spcPct val="130000"/>
              </a:lnSpc>
              <a:spcBef>
                <a:spcPts val="0"/>
              </a:spcBef>
              <a:spcAft>
                <a:spcPts val="600"/>
              </a:spcAft>
              <a:buFont typeface="Arial" panose="020B0604020202020204" pitchFamily="34" charset="0"/>
              <a:buNone/>
              <a:defRPr kumimoji="0" lang="zh-CN" altLang="en-US" sz="1600" b="0" i="0" u="none" strike="noStrike" kern="1200" cap="none" spc="150" normalizeH="0" baseline="0" noProof="1" dirty="0">
                <a:solidFill>
                  <a:schemeClr val="tx1">
                    <a:lumMod val="65000"/>
                    <a:lumOff val="35000"/>
                  </a:schemeClr>
                </a:solidFill>
                <a:uFillTx/>
                <a:latin typeface="Arial" panose="020B0604020202020204" pitchFamily="34" charset="0"/>
                <a:ea typeface="微软雅黑" panose="020B0503020204020204" charset="-122"/>
                <a:cs typeface="+mn-cs"/>
                <a:sym typeface="+mn-ea"/>
              </a:defRPr>
            </a:lvl1pPr>
            <a:lvl2pPr marL="457200" indent="0" defTabSz="914400" eaLnBrk="1" fontAlgn="auto" latinLnBrk="0" hangingPunct="1">
              <a:buFont typeface="Arial" panose="020B0604020202020204" pitchFamily="34" charset="0"/>
              <a:buNone/>
              <a:tabLst>
                <a:tab pos="1609725" algn="l"/>
                <a:tab pos="1609725" algn="l"/>
                <a:tab pos="1609725" algn="l"/>
                <a:tab pos="1609725" algn="l"/>
              </a:tabLst>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2pPr>
            <a:lvl3pPr eaLnBrk="1" fontAlgn="auto" latinLnBrk="0" hangingPunct="1">
              <a:buFont typeface="Arial" panose="020B0604020202020204" pitchFamily="34" charset="0"/>
              <a:buChar char="●"/>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3pPr>
            <a:lvl4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4pPr>
            <a:lvl5pPr eaLnBrk="1" fontAlgn="auto" latinLnBrk="0" hangingPunct="1">
              <a:defRPr u="none" strike="noStrike" kern="1200" cap="none" spc="150" normalizeH="0">
                <a:solidFill>
                  <a:schemeClr val="tx1">
                    <a:lumMod val="65000"/>
                    <a:lumOff val="35000"/>
                  </a:schemeClr>
                </a:solidFill>
                <a:uFillTx/>
                <a:latin typeface="Arial" panose="020B0604020202020204" pitchFamily="34" charset="0"/>
                <a:ea typeface="微软雅黑" panose="020B0503020204020204" charset="-122"/>
              </a:defRPr>
            </a:lvl5pPr>
          </a:lstStyle>
          <a:p>
            <a:pPr lvl="0"/>
            <a:r>
              <a:rPr dirty="0">
                <a:sym typeface="+mn-ea"/>
              </a:rPr>
              <a:t>单击此处编辑母版文本样式</a:t>
            </a:r>
            <a:endParaRPr dirty="0">
              <a:sym typeface="+mn-ea"/>
            </a:endParaRPr>
          </a:p>
        </p:txBody>
      </p:sp>
      <p:sp>
        <p:nvSpPr>
          <p:cNvPr id="5" name="日期占位符 4"/>
          <p:cNvSpPr>
            <a:spLocks noGrp="1"/>
          </p:cNvSpPr>
          <p:nvPr>
            <p:ph type="dt" sz="half" idx="10"/>
            <p:custDataLst>
              <p:tags r:id="rId4"/>
            </p:custDataLst>
          </p:nvPr>
        </p:nvSpPr>
        <p:spPr/>
        <p:txBody>
          <a:bodyPr/>
          <a:lstStyle/>
          <a:p>
            <a:fld id="{9EFD9D74-47D9-4702-A33C-335B63B48DBF}" type="datetimeFigureOut">
              <a:rPr lang="zh-CN" altLang="en-US" smtClean="0"/>
            </a:fld>
            <a:endParaRPr lang="zh-CN" altLang="en-US" dirty="0"/>
          </a:p>
        </p:txBody>
      </p:sp>
      <p:sp>
        <p:nvSpPr>
          <p:cNvPr id="6" name="页脚占位符 5"/>
          <p:cNvSpPr>
            <a:spLocks noGrp="1"/>
          </p:cNvSpPr>
          <p:nvPr>
            <p:ph type="ftr" sz="quarter" idx="11"/>
            <p:custDataLst>
              <p:tags r:id="rId5"/>
            </p:custDataLst>
          </p:nvPr>
        </p:nvSpPr>
        <p:spPr/>
        <p:txBody>
          <a:bodyPr/>
          <a:lstStyle/>
          <a:p>
            <a:endParaRPr lang="zh-CN" altLang="en-US" dirty="0"/>
          </a:p>
        </p:txBody>
      </p:sp>
      <p:sp>
        <p:nvSpPr>
          <p:cNvPr id="7" name="灯片编号占位符 6"/>
          <p:cNvSpPr>
            <a:spLocks noGrp="1"/>
          </p:cNvSpPr>
          <p:nvPr>
            <p:ph type="sldNum" sz="quarter" idx="12"/>
            <p:custDataLst>
              <p:tags r:id="rId6"/>
            </p:custDataLst>
          </p:nvPr>
        </p:nvSpPr>
        <p:spPr/>
        <p:txBody>
          <a:bodyPr/>
          <a:lstStyle/>
          <a:p>
            <a:fld id="{FABC47A4-756D-490B-A52F-7D9E2C9FC05F}" type="slidenum">
              <a:rPr lang="zh-CN" altLang="en-US" smtClean="0"/>
            </a:fld>
            <a:endParaRPr lang="zh-CN" altLang="en-US"/>
          </a:p>
        </p:txBody>
      </p:sp>
      <p:sp>
        <p:nvSpPr>
          <p:cNvPr id="9" name="标题 8"/>
          <p:cNvSpPr>
            <a:spLocks noGrp="1"/>
          </p:cNvSpPr>
          <p:nvPr>
            <p:ph type="title"/>
            <p:custDataLst>
              <p:tags r:id="rId7"/>
            </p:custDataLst>
          </p:nvPr>
        </p:nvSpPr>
        <p:spPr/>
        <p:txBody>
          <a:bodyPr/>
          <a:lstStyle>
            <a:lvl1pPr>
              <a:defRPr baseline="0"/>
            </a:lvl1pPr>
          </a:lstStyle>
          <a:p>
            <a:r>
              <a:rPr lang="zh-CN" altLang="en-US"/>
              <a:t>单击此处编辑母版标题样式</a:t>
            </a:r>
            <a:endParaRPr lang="zh-CN" alt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竖排标题与文本">
    <p:bg>
      <p:bgPr>
        <a:solidFill>
          <a:srgbClr val="FFFFFF"/>
        </a:solidFill>
        <a:effectLst/>
      </p:bgPr>
    </p:bg>
    <p:spTree>
      <p:nvGrpSpPr>
        <p:cNvPr id="1" name=""/>
        <p:cNvGrpSpPr/>
        <p:nvPr/>
      </p:nvGrpSpPr>
      <p:grpSpPr>
        <a:xfrm>
          <a:off x="0" y="0"/>
          <a:ext cx="0" cy="0"/>
          <a:chOff x="0" y="0"/>
          <a:chExt cx="0" cy="0"/>
        </a:xfrm>
      </p:grpSpPr>
      <p:sp>
        <p:nvSpPr>
          <p:cNvPr id="4" name="日期占位符 3"/>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5" name="页脚占位符 4"/>
          <p:cNvSpPr>
            <a:spLocks noGrp="1"/>
          </p:cNvSpPr>
          <p:nvPr>
            <p:ph type="ftr" sz="quarter" idx="11"/>
            <p:custDataLst>
              <p:tags r:id="rId3"/>
            </p:custDataLst>
          </p:nvPr>
        </p:nvSpPr>
        <p:spPr/>
        <p:txBody>
          <a:bodyPr/>
          <a:lstStyle/>
          <a:p>
            <a:endParaRPr lang="zh-CN" altLang="en-US"/>
          </a:p>
        </p:txBody>
      </p:sp>
      <p:sp>
        <p:nvSpPr>
          <p:cNvPr id="6" name="灯片编号占位符 5"/>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pic>
        <p:nvPicPr>
          <p:cNvPr id="2" name="图片 1" descr="C:/Users/Administrator/Desktop/二维码宣传素材/二维码宣传素材_03.jpg二维码宣传素材_03"/>
          <p:cNvPicPr>
            <a:picLocks noChangeAspect="1"/>
          </p:cNvPicPr>
          <p:nvPr userDrawn="1">
            <p:custDataLst>
              <p:tags r:id="rId5"/>
            </p:custDataLst>
          </p:nvPr>
        </p:nvPicPr>
        <p:blipFill>
          <a:blip r:embed="rId6"/>
          <a:srcRect l="7774" r="7774"/>
          <a:stretch>
            <a:fillRect/>
          </a:stretch>
        </p:blipFill>
        <p:spPr>
          <a:xfrm>
            <a:off x="1554798" y="332740"/>
            <a:ext cx="9081770" cy="6048375"/>
          </a:xfrm>
          <a:prstGeom prst="rect">
            <a:avLst/>
          </a:prstGeom>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内容">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7" name="内容占位符 6"/>
          <p:cNvSpPr>
            <a:spLocks noGrp="1"/>
          </p:cNvSpPr>
          <p:nvPr>
            <p:ph sz="quarter" idx="13"/>
            <p:custDataLst>
              <p:tags r:id="rId5"/>
            </p:custDataLst>
          </p:nvPr>
        </p:nvSpPr>
        <p:spPr>
          <a:xfrm>
            <a:off x="608400" y="774000"/>
            <a:ext cx="10972801" cy="5482800"/>
          </a:xfrm>
        </p:spPr>
        <p:txBody>
          <a:bodyPr/>
          <a:lstStyle>
            <a:lvl1pPr marL="228600" indent="-228600" eaLnBrk="1" fontAlgn="auto" latinLnBrk="0" hangingPunct="1">
              <a:lnSpc>
                <a:spcPct val="130000"/>
              </a:lnSpc>
              <a:buFont typeface="Arial" panose="020B0604020202020204" pitchFamily="34" charset="0"/>
              <a:buChar char="●"/>
              <a:defRPr u="none" strike="noStrike" kern="1200" cap="none" spc="150" normalizeH="0" baseline="0">
                <a:solidFill>
                  <a:schemeClr val="tx1">
                    <a:lumMod val="65000"/>
                    <a:lumOff val="35000"/>
                  </a:schemeClr>
                </a:solidFill>
                <a:uFillTx/>
              </a:defRPr>
            </a:lvl1pPr>
            <a:lvl2pPr marL="685800" indent="-228600" defTabSz="914400" eaLnBrk="1" fontAlgn="auto" latinLnBrk="0" hangingPunct="1">
              <a:lnSpc>
                <a:spcPct val="120000"/>
              </a:lnSpc>
              <a:buFont typeface="Arial" panose="020B0604020202020204" pitchFamily="34" charset="0"/>
              <a:buChar char="●"/>
              <a:tabLst>
                <a:tab pos="1609725" algn="l"/>
                <a:tab pos="1609725" algn="l"/>
                <a:tab pos="1609725" algn="l"/>
                <a:tab pos="1609725" algn="l"/>
              </a:tabLst>
              <a:defRPr u="none" strike="noStrike" kern="1200" cap="none" spc="150" normalizeH="0" baseline="0">
                <a:solidFill>
                  <a:schemeClr val="tx1">
                    <a:lumMod val="65000"/>
                    <a:lumOff val="35000"/>
                  </a:schemeClr>
                </a:solidFill>
                <a:uFillTx/>
              </a:defRPr>
            </a:lvl2pPr>
            <a:lvl3pPr marL="11430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3pPr>
            <a:lvl4pPr marL="1600200" indent="-228600" eaLnBrk="1" fontAlgn="auto" latinLnBrk="0" hangingPunct="1">
              <a:lnSpc>
                <a:spcPct val="120000"/>
              </a:lnSpc>
              <a:buFont typeface="Wingdings" panose="05000000000000000000" charset="0"/>
              <a:buChar char=""/>
              <a:defRPr u="none" strike="noStrike" kern="1200" cap="none" spc="150" normalizeH="0" baseline="0">
                <a:solidFill>
                  <a:schemeClr val="tx1">
                    <a:lumMod val="65000"/>
                    <a:lumOff val="35000"/>
                  </a:schemeClr>
                </a:solidFill>
                <a:uFillTx/>
              </a:defRPr>
            </a:lvl4pPr>
            <a:lvl5pPr marL="2057400" indent="-228600" eaLnBrk="1" fontAlgn="auto" latinLnBrk="0" hangingPunct="1">
              <a:lnSpc>
                <a:spcPct val="120000"/>
              </a:lnSpc>
              <a:buFont typeface="Arial" panose="020B0604020202020204" pitchFamily="34" charset="0"/>
              <a:buChar char="•"/>
              <a:defRPr u="none" strike="noStrike" kern="1200" cap="none" spc="150" normalizeH="0" baseline="0">
                <a:solidFill>
                  <a:schemeClr val="tx1">
                    <a:lumMod val="65000"/>
                    <a:lumOff val="35000"/>
                  </a:schemeClr>
                </a:solidFill>
                <a:uFillTx/>
              </a:defRPr>
            </a:lvl5p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末尾幻灯片">
    <p:bg>
      <p:bgPr>
        <a:solidFill>
          <a:srgbClr val="FFFFFF"/>
        </a:solidFill>
        <a:effectLst/>
      </p:bgPr>
    </p:bg>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p:txBody>
          <a:bodyPr/>
          <a:lstStyle/>
          <a:p>
            <a:endParaRPr lang="zh-CN" altLang="en-US"/>
          </a:p>
        </p:txBody>
      </p:sp>
      <p:sp>
        <p:nvSpPr>
          <p:cNvPr id="5" name="灯片编号占位符 4"/>
          <p:cNvSpPr>
            <a:spLocks noGrp="1"/>
          </p:cNvSpPr>
          <p:nvPr>
            <p:ph type="sldNum" sz="quarter" idx="12"/>
            <p:custDataLst>
              <p:tags r:id="rId4"/>
            </p:custDataLst>
          </p:nvPr>
        </p:nvSpPr>
        <p:spPr/>
        <p:txBody>
          <a:bodyPr/>
          <a:lstStyle/>
          <a:p>
            <a:fld id="{49AE70B2-8BF9-45C0-BB95-33D1B9D3A854}" type="slidenum">
              <a:rPr lang="zh-CN" altLang="en-US" smtClean="0"/>
            </a:fld>
            <a:endParaRPr lang="zh-CN" altLang="en-US"/>
          </a:p>
        </p:txBody>
      </p:sp>
      <p:sp>
        <p:nvSpPr>
          <p:cNvPr id="2" name="标题 1"/>
          <p:cNvSpPr>
            <a:spLocks noGrp="1"/>
          </p:cNvSpPr>
          <p:nvPr>
            <p:ph type="title" hasCustomPrompt="1"/>
            <p:custDataLst>
              <p:tags r:id="rId5"/>
            </p:custDataLst>
          </p:nvPr>
        </p:nvSpPr>
        <p:spPr>
          <a:xfrm>
            <a:off x="1198800" y="2484000"/>
            <a:ext cx="9799200" cy="1018800"/>
          </a:xfrm>
        </p:spPr>
        <p:txBody>
          <a:bodyPr vert="horz" lIns="90000" tIns="46800" rIns="90000" bIns="46800" rtlCol="0" anchor="t" anchorCtr="0">
            <a:normAutofit/>
          </a:bodyPr>
          <a:lstStyle>
            <a:lvl1pPr marL="0" marR="0" algn="ctr" defTabSz="914400" rtl="0" eaLnBrk="1" fontAlgn="auto" latinLnBrk="0" hangingPunct="1">
              <a:lnSpc>
                <a:spcPct val="100000"/>
              </a:lnSpc>
              <a:buNone/>
              <a:defRPr kumimoji="0" lang="zh-CN" altLang="en-US" sz="6000" b="1" i="0" u="none" strike="noStrike" kern="1200" cap="none" spc="300" normalizeH="0" baseline="0" noProof="1" dirty="0">
                <a:solidFill>
                  <a:schemeClr val="tx1">
                    <a:lumMod val="85000"/>
                    <a:lumOff val="15000"/>
                  </a:schemeClr>
                </a:solidFill>
                <a:effectLst/>
                <a:uFillTx/>
                <a:latin typeface="Arial" panose="020B0604020202020204" pitchFamily="34" charset="0"/>
                <a:ea typeface="微软雅黑" panose="020B0503020204020204" charset="-122"/>
                <a:cs typeface="+mj-cs"/>
                <a:sym typeface="+mn-ea"/>
              </a:defRPr>
            </a:lvl1pPr>
          </a:lstStyle>
          <a:p>
            <a:pPr lvl="0"/>
            <a:r>
              <a:rPr>
                <a:sym typeface="+mn-ea"/>
              </a:rPr>
              <a:t>单击此处编辑标题</a:t>
            </a:r>
            <a:endParaRPr>
              <a:sym typeface="+mn-ea"/>
            </a:endParaRPr>
          </a:p>
        </p:txBody>
      </p:sp>
      <p:sp>
        <p:nvSpPr>
          <p:cNvPr id="7" name="文本占位符 6"/>
          <p:cNvSpPr>
            <a:spLocks noGrp="1"/>
          </p:cNvSpPr>
          <p:nvPr>
            <p:ph type="body" sz="quarter" idx="13"/>
            <p:custDataLst>
              <p:tags r:id="rId6"/>
            </p:custDataLst>
          </p:nvPr>
        </p:nvSpPr>
        <p:spPr>
          <a:xfrm>
            <a:off x="1198800" y="3560400"/>
            <a:ext cx="9799200" cy="471600"/>
          </a:xfrm>
        </p:spPr>
        <p:txBody>
          <a:bodyPr lIns="90000" tIns="46800" rIns="90000" bIns="46800">
            <a:normAutofit/>
          </a:bodyPr>
          <a:lstStyle>
            <a:lvl1pPr marL="0" indent="0" algn="ctr">
              <a:lnSpc>
                <a:spcPct val="110000"/>
              </a:lnSpc>
              <a:buNone/>
              <a:defRPr sz="2400" spc="200" baseline="0">
                <a:solidFill>
                  <a:schemeClr val="tx1">
                    <a:lumMod val="65000"/>
                    <a:lumOff val="35000"/>
                  </a:schemeClr>
                </a:solidFill>
              </a:defRPr>
            </a:lvl1pPr>
          </a:lstStyle>
          <a:p>
            <a:pPr lvl="0"/>
            <a:r>
              <a:rPr lang="zh-CN" altLang="en-US" dirty="0"/>
              <a:t>单击此处编辑母版文本样式</a:t>
            </a:r>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内容与标题">
    <p:spTree>
      <p:nvGrpSpPr>
        <p:cNvPr id="1" name=""/>
        <p:cNvGrpSpPr/>
        <p:nvPr/>
      </p:nvGrpSpPr>
      <p:grpSpPr>
        <a:xfrm>
          <a:off x="0" y="0"/>
          <a:ext cx="0" cy="0"/>
          <a:chOff x="0" y="0"/>
          <a:chExt cx="0" cy="0"/>
        </a:xfrm>
      </p:grpSpPr>
      <p:sp>
        <p:nvSpPr>
          <p:cNvPr id="1051048" name="日期占位符 4"/>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08F5F676-15A5-402A-A89B-21515CD99382}"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9" name="灯片编号占位符 6"/>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1051042" name="日期占位符 4"/>
          <p:cNvSpPr>
            <a:spLocks noGrp="1"/>
          </p:cNvSpPr>
          <p:nvPr>
            <p:ph type="dt" sz="half" idx="10"/>
          </p:nvPr>
        </p:nvSpPr>
        <p:spPr>
          <a:xfrm>
            <a:off x="82550" y="6403975"/>
            <a:ext cx="2844800" cy="365125"/>
          </a:xfrm>
          <a:prstGeom prst="rect">
            <a:avLst/>
          </a:prstGeom>
        </p:spPr>
        <p:txBody>
          <a:bodyPr vert="horz" lIns="91440" tIns="45720" rIns="91440" bIns="45720" rtlCol="0" anchor="ctr"/>
          <a:lstStyle/>
          <a:p>
            <a:pPr fontAlgn="base"/>
            <a:fld id="{6E23C7EA-4A56-4142-8A9F-722925628C6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1051043" name="灯片编号占位符 6"/>
          <p:cNvSpPr>
            <a:spLocks noGrp="1"/>
          </p:cNvSpPr>
          <p:nvPr>
            <p:ph type="sldNum" sz="quarter" idx="12"/>
          </p:nvPr>
        </p:nvSpPr>
        <p:spPr>
          <a:xfrm>
            <a:off x="3887788" y="6405563"/>
            <a:ext cx="2844800" cy="365125"/>
          </a:xfrm>
          <a:prstGeom prst="rect">
            <a:avLst/>
          </a:prstGeom>
        </p:spPr>
        <p:txBody>
          <a:bodyPr/>
          <a:lstStyle>
            <a:lvl1pPr>
              <a:defRPr>
                <a:cs typeface="微软雅黑" panose="020B0503020204020204" charset="-122"/>
              </a:defRPr>
            </a:lvl1pPr>
          </a:lstStyle>
          <a:p>
            <a:pPr fontAlgn="base"/>
            <a:fld id="{916F26BD-DE47-4663-A93D-9EEAA4334141}" type="slidenum">
              <a:rPr lang="zh-CN" altLang="en-US" strike="noStrike" noProof="1" smtClean="0">
                <a:latin typeface="Arial" panose="020B0604020202020204" pitchFamily="34" charset="0"/>
                <a:ea typeface="微软雅黑" panose="020B0503020204020204" charset="-122"/>
                <a:cs typeface="微软雅黑" panose="020B0503020204020204" charset="-122"/>
              </a:rPr>
            </a:fld>
            <a:endParaRPr lang="zh-CN" altLang="en-US" strike="noStrike" noProof="1"/>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9" Type="http://schemas.openxmlformats.org/officeDocument/2006/relationships/theme" Target="../theme/theme1.xml"/><Relationship Id="rId58" Type="http://schemas.openxmlformats.org/officeDocument/2006/relationships/image" Target="../media/image3.png"/><Relationship Id="rId57" Type="http://schemas.openxmlformats.org/officeDocument/2006/relationships/slideLayout" Target="../slideLayouts/slideLayout57.xml"/><Relationship Id="rId56" Type="http://schemas.openxmlformats.org/officeDocument/2006/relationships/slideLayout" Target="../slideLayouts/slideLayout56.xml"/><Relationship Id="rId55" Type="http://schemas.openxmlformats.org/officeDocument/2006/relationships/slideLayout" Target="../slideLayouts/slideLayout55.xml"/><Relationship Id="rId54" Type="http://schemas.openxmlformats.org/officeDocument/2006/relationships/slideLayout" Target="../slideLayouts/slideLayout54.xml"/><Relationship Id="rId53" Type="http://schemas.openxmlformats.org/officeDocument/2006/relationships/slideLayout" Target="../slideLayouts/slideLayout53.xml"/><Relationship Id="rId52" Type="http://schemas.openxmlformats.org/officeDocument/2006/relationships/slideLayout" Target="../slideLayouts/slideLayout52.xml"/><Relationship Id="rId51" Type="http://schemas.openxmlformats.org/officeDocument/2006/relationships/slideLayout" Target="../slideLayouts/slideLayout51.xml"/><Relationship Id="rId50" Type="http://schemas.openxmlformats.org/officeDocument/2006/relationships/slideLayout" Target="../slideLayouts/slideLayout50.xml"/><Relationship Id="rId5" Type="http://schemas.openxmlformats.org/officeDocument/2006/relationships/slideLayout" Target="../slideLayouts/slideLayout5.xml"/><Relationship Id="rId49" Type="http://schemas.openxmlformats.org/officeDocument/2006/relationships/slideLayout" Target="../slideLayouts/slideLayout49.xml"/><Relationship Id="rId48" Type="http://schemas.openxmlformats.org/officeDocument/2006/relationships/slideLayout" Target="../slideLayouts/slideLayout48.xml"/><Relationship Id="rId47" Type="http://schemas.openxmlformats.org/officeDocument/2006/relationships/slideLayout" Target="../slideLayouts/slideLayout47.xml"/><Relationship Id="rId46" Type="http://schemas.openxmlformats.org/officeDocument/2006/relationships/slideLayout" Target="../slideLayouts/slideLayout46.xml"/><Relationship Id="rId45" Type="http://schemas.openxmlformats.org/officeDocument/2006/relationships/slideLayout" Target="../slideLayouts/slideLayout45.xml"/><Relationship Id="rId44" Type="http://schemas.openxmlformats.org/officeDocument/2006/relationships/slideLayout" Target="../slideLayouts/slideLayout44.xml"/><Relationship Id="rId43" Type="http://schemas.openxmlformats.org/officeDocument/2006/relationships/slideLayout" Target="../slideLayouts/slideLayout43.xml"/><Relationship Id="rId42" Type="http://schemas.openxmlformats.org/officeDocument/2006/relationships/slideLayout" Target="../slideLayouts/slideLayout42.xml"/><Relationship Id="rId41" Type="http://schemas.openxmlformats.org/officeDocument/2006/relationships/slideLayout" Target="../slideLayouts/slideLayout41.xml"/><Relationship Id="rId40" Type="http://schemas.openxmlformats.org/officeDocument/2006/relationships/slideLayout" Target="../slideLayouts/slideLayout40.xml"/><Relationship Id="rId4" Type="http://schemas.openxmlformats.org/officeDocument/2006/relationships/slideLayout" Target="../slideLayouts/slideLayout4.xml"/><Relationship Id="rId39" Type="http://schemas.openxmlformats.org/officeDocument/2006/relationships/slideLayout" Target="../slideLayouts/slideLayout39.xml"/><Relationship Id="rId38" Type="http://schemas.openxmlformats.org/officeDocument/2006/relationships/slideLayout" Target="../slideLayouts/slideLayout38.xml"/><Relationship Id="rId37" Type="http://schemas.openxmlformats.org/officeDocument/2006/relationships/slideLayout" Target="../slideLayouts/slideLayout37.xml"/><Relationship Id="rId36" Type="http://schemas.openxmlformats.org/officeDocument/2006/relationships/slideLayout" Target="../slideLayouts/slideLayout36.xml"/><Relationship Id="rId35" Type="http://schemas.openxmlformats.org/officeDocument/2006/relationships/slideLayout" Target="../slideLayouts/slideLayout35.xml"/><Relationship Id="rId34" Type="http://schemas.openxmlformats.org/officeDocument/2006/relationships/slideLayout" Target="../slideLayouts/slideLayout34.xml"/><Relationship Id="rId33" Type="http://schemas.openxmlformats.org/officeDocument/2006/relationships/slideLayout" Target="../slideLayouts/slideLayout33.xml"/><Relationship Id="rId32" Type="http://schemas.openxmlformats.org/officeDocument/2006/relationships/slideLayout" Target="../slideLayouts/slideLayout32.xml"/><Relationship Id="rId31" Type="http://schemas.openxmlformats.org/officeDocument/2006/relationships/slideLayout" Target="../slideLayouts/slideLayout31.xml"/><Relationship Id="rId30" Type="http://schemas.openxmlformats.org/officeDocument/2006/relationships/slideLayout" Target="../slideLayouts/slideLayout30.xml"/><Relationship Id="rId3" Type="http://schemas.openxmlformats.org/officeDocument/2006/relationships/slideLayout" Target="../slideLayouts/slideLayout3.xml"/><Relationship Id="rId29" Type="http://schemas.openxmlformats.org/officeDocument/2006/relationships/slideLayout" Target="../slideLayouts/slideLayout29.xml"/><Relationship Id="rId28" Type="http://schemas.openxmlformats.org/officeDocument/2006/relationships/slideLayout" Target="../slideLayouts/slideLayout28.xml"/><Relationship Id="rId27" Type="http://schemas.openxmlformats.org/officeDocument/2006/relationships/slideLayout" Target="../slideLayouts/slideLayout27.xml"/><Relationship Id="rId26" Type="http://schemas.openxmlformats.org/officeDocument/2006/relationships/slideLayout" Target="../slideLayouts/slideLayout26.xml"/><Relationship Id="rId25" Type="http://schemas.openxmlformats.org/officeDocument/2006/relationships/slideLayout" Target="../slideLayouts/slideLayout25.xml"/><Relationship Id="rId24" Type="http://schemas.openxmlformats.org/officeDocument/2006/relationships/slideLayout" Target="../slideLayouts/slideLayout24.xml"/><Relationship Id="rId23" Type="http://schemas.openxmlformats.org/officeDocument/2006/relationships/slideLayout" Target="../slideLayouts/slideLayout23.xml"/><Relationship Id="rId22" Type="http://schemas.openxmlformats.org/officeDocument/2006/relationships/slideLayout" Target="../slideLayouts/slideLayout22.xml"/><Relationship Id="rId21" Type="http://schemas.openxmlformats.org/officeDocument/2006/relationships/slideLayout" Target="../slideLayouts/slideLayout21.xml"/><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7" Type="http://schemas.openxmlformats.org/officeDocument/2006/relationships/theme" Target="../theme/theme2.xml"/><Relationship Id="rId6" Type="http://schemas.openxmlformats.org/officeDocument/2006/relationships/slideLayout" Target="../slideLayouts/slideLayout63.xml"/><Relationship Id="rId5" Type="http://schemas.openxmlformats.org/officeDocument/2006/relationships/slideLayout" Target="../slideLayouts/slideLayout62.xml"/><Relationship Id="rId4" Type="http://schemas.openxmlformats.org/officeDocument/2006/relationships/slideLayout" Target="../slideLayouts/slideLayout61.xml"/><Relationship Id="rId3" Type="http://schemas.openxmlformats.org/officeDocument/2006/relationships/slideLayout" Target="../slideLayouts/slideLayout60.xml"/><Relationship Id="rId2" Type="http://schemas.openxmlformats.org/officeDocument/2006/relationships/slideLayout" Target="../slideLayouts/slideLayout59.xml"/><Relationship Id="rId1"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72.xml"/><Relationship Id="rId8" Type="http://schemas.openxmlformats.org/officeDocument/2006/relationships/slideLayout" Target="../slideLayouts/slideLayout71.xml"/><Relationship Id="rId7" Type="http://schemas.openxmlformats.org/officeDocument/2006/relationships/slideLayout" Target="../slideLayouts/slideLayout70.xml"/><Relationship Id="rId6" Type="http://schemas.openxmlformats.org/officeDocument/2006/relationships/slideLayout" Target="../slideLayouts/slideLayout69.xml"/><Relationship Id="rId5" Type="http://schemas.openxmlformats.org/officeDocument/2006/relationships/slideLayout" Target="../slideLayouts/slideLayout68.xml"/><Relationship Id="rId4" Type="http://schemas.openxmlformats.org/officeDocument/2006/relationships/slideLayout" Target="../slideLayouts/slideLayout67.xml"/><Relationship Id="rId3" Type="http://schemas.openxmlformats.org/officeDocument/2006/relationships/slideLayout" Target="../slideLayouts/slideLayout66.xml"/><Relationship Id="rId2" Type="http://schemas.openxmlformats.org/officeDocument/2006/relationships/slideLayout" Target="../slideLayouts/slideLayout65.xml"/><Relationship Id="rId18" Type="http://schemas.openxmlformats.org/officeDocument/2006/relationships/theme" Target="../theme/theme3.xml"/><Relationship Id="rId17" Type="http://schemas.openxmlformats.org/officeDocument/2006/relationships/tags" Target="../tags/tag68.xml"/><Relationship Id="rId16" Type="http://schemas.openxmlformats.org/officeDocument/2006/relationships/tags" Target="../tags/tag67.xml"/><Relationship Id="rId15" Type="http://schemas.openxmlformats.org/officeDocument/2006/relationships/tags" Target="../tags/tag66.xml"/><Relationship Id="rId14" Type="http://schemas.openxmlformats.org/officeDocument/2006/relationships/tags" Target="../tags/tag65.xml"/><Relationship Id="rId13" Type="http://schemas.openxmlformats.org/officeDocument/2006/relationships/tags" Target="../tags/tag64.xml"/><Relationship Id="rId12" Type="http://schemas.openxmlformats.org/officeDocument/2006/relationships/tags" Target="../tags/tag63.xml"/><Relationship Id="rId11" Type="http://schemas.openxmlformats.org/officeDocument/2006/relationships/slideLayout" Target="../slideLayouts/slideLayout74.xml"/><Relationship Id="rId10" Type="http://schemas.openxmlformats.org/officeDocument/2006/relationships/slideLayout" Target="../slideLayouts/slideLayout73.xml"/><Relationship Id="rId1"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矩形 6"/>
          <p:cNvSpPr/>
          <p:nvPr userDrawn="1"/>
        </p:nvSpPr>
        <p:spPr>
          <a:xfrm>
            <a:off x="0" y="6308725"/>
            <a:ext cx="12192000" cy="55562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lIns="91440" tIns="45720" rIns="91440" bIns="45720" numCol="1" spcCol="0" rtlCol="0" fromWordArt="0" anchor="ctr" anchorCtr="0" forceAA="0" compatLnSpc="1">
            <a:noAutofit/>
          </a:bodyPr>
          <a:lstStyle/>
          <a:p>
            <a:pPr lvl="0" algn="ctr">
              <a:buClrTx/>
              <a:buSzTx/>
              <a:buFontTx/>
            </a:pPr>
            <a:endParaRPr lang="zh-CN" altLang="en-US">
              <a:sym typeface="微软雅黑" panose="020B0503020204020204" charset="-122"/>
            </a:endParaRPr>
          </a:p>
        </p:txBody>
      </p:sp>
      <p:sp>
        <p:nvSpPr>
          <p:cNvPr id="1048577" name="日期占位符 3"/>
          <p:cNvSpPr>
            <a:spLocks noGrp="1"/>
          </p:cNvSpPr>
          <p:nvPr>
            <p:ph type="dt" sz="half" idx="2"/>
          </p:nvPr>
        </p:nvSpPr>
        <p:spPr>
          <a:xfrm>
            <a:off x="82550" y="6403975"/>
            <a:ext cx="2844800" cy="365125"/>
          </a:xfrm>
          <a:prstGeom prst="rect">
            <a:avLst/>
          </a:prstGeom>
        </p:spPr>
        <p:txBody>
          <a:bodyPr vert="horz" lIns="91440" tIns="45720" rIns="91440" bIns="45720" rtlCol="0" anchor="ctr"/>
          <a:lstStyle>
            <a:lvl1pPr algn="l">
              <a:defRPr sz="1600">
                <a:solidFill>
                  <a:schemeClr val="bg1"/>
                </a:solidFill>
                <a:latin typeface="微软雅黑" panose="020B0503020204020204" charset="-122"/>
                <a:ea typeface="微软雅黑" panose="020B0503020204020204" charset="-122"/>
                <a:cs typeface="微软雅黑" panose="020B0503020204020204" charset="-122"/>
              </a:defRPr>
            </a:lvl1pPr>
          </a:lstStyle>
          <a:p>
            <a:pPr fontAlgn="base"/>
            <a:fld id="{9DD1F462-85FF-4F29-B431-4C51C50C97AB}" type="datetime1">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grpSp>
        <p:nvGrpSpPr>
          <p:cNvPr id="2052" name="组合 8"/>
          <p:cNvGrpSpPr/>
          <p:nvPr userDrawn="1"/>
        </p:nvGrpSpPr>
        <p:grpSpPr>
          <a:xfrm>
            <a:off x="11550650" y="6489700"/>
            <a:ext cx="300038" cy="300038"/>
            <a:chOff x="11550315" y="6496550"/>
            <a:chExt cx="299785" cy="299785"/>
          </a:xfrm>
        </p:grpSpPr>
        <p:sp>
          <p:nvSpPr>
            <p:cNvPr id="1048578" name="椭圆 9"/>
            <p:cNvSpPr/>
            <p:nvPr/>
          </p:nvSpPr>
          <p:spPr>
            <a:xfrm>
              <a:off x="11550315" y="6496550"/>
              <a:ext cx="299785" cy="299785"/>
            </a:xfrm>
            <a:prstGeom prst="ellipse">
              <a:avLst/>
            </a:prstGeom>
            <a:solidFill>
              <a:srgbClr val="FCF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sp>
          <p:nvSpPr>
            <p:cNvPr id="1048579" name="右箭头 10"/>
            <p:cNvSpPr/>
            <p:nvPr/>
          </p:nvSpPr>
          <p:spPr>
            <a:xfrm>
              <a:off x="11640049" y="6556709"/>
              <a:ext cx="144379" cy="168442"/>
            </a:xfrm>
            <a:prstGeom prst="rightArrow">
              <a:avLst/>
            </a:prstGeom>
            <a:solidFill>
              <a:srgbClr val="131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grpSp>
      <p:grpSp>
        <p:nvGrpSpPr>
          <p:cNvPr id="2055" name="组合 11"/>
          <p:cNvGrpSpPr/>
          <p:nvPr userDrawn="1"/>
        </p:nvGrpSpPr>
        <p:grpSpPr>
          <a:xfrm flipH="1">
            <a:off x="11055350" y="6489700"/>
            <a:ext cx="300038" cy="300038"/>
            <a:chOff x="11550315" y="6496550"/>
            <a:chExt cx="299785" cy="299785"/>
          </a:xfrm>
        </p:grpSpPr>
        <p:sp>
          <p:nvSpPr>
            <p:cNvPr id="1048580" name="椭圆 12"/>
            <p:cNvSpPr/>
            <p:nvPr/>
          </p:nvSpPr>
          <p:spPr>
            <a:xfrm>
              <a:off x="11550315" y="6496550"/>
              <a:ext cx="299785" cy="299785"/>
            </a:xfrm>
            <a:prstGeom prst="ellipse">
              <a:avLst/>
            </a:prstGeom>
            <a:solidFill>
              <a:srgbClr val="FCF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sp>
          <p:nvSpPr>
            <p:cNvPr id="1048581" name="右箭头 13"/>
            <p:cNvSpPr/>
            <p:nvPr/>
          </p:nvSpPr>
          <p:spPr>
            <a:xfrm>
              <a:off x="11640049" y="6556709"/>
              <a:ext cx="144379" cy="168442"/>
            </a:xfrm>
            <a:prstGeom prst="rightArrow">
              <a:avLst/>
            </a:prstGeom>
            <a:solidFill>
              <a:srgbClr val="1314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latin typeface="微软雅黑" panose="020B0503020204020204" charset="-122"/>
                <a:ea typeface="微软雅黑" panose="020B0503020204020204" charset="-122"/>
                <a:cs typeface="微软雅黑" panose="020B0503020204020204" charset="-122"/>
              </a:endParaRPr>
            </a:p>
          </p:txBody>
        </p:sp>
      </p:grpSp>
      <p:pic>
        <p:nvPicPr>
          <p:cNvPr id="8" name="图片 7"/>
          <p:cNvPicPr>
            <a:picLocks noChangeAspect="1"/>
          </p:cNvPicPr>
          <p:nvPr userDrawn="1"/>
        </p:nvPicPr>
        <p:blipFill>
          <a:blip r:embed="rId58"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Lst>
  <p:transition spd="slow">
    <p:fade/>
  </p:transition>
  <p:hf sldNum="0" hdr="0" ftr="0"/>
  <p:txStyles>
    <p:titleStyle>
      <a:lvl1pPr algn="ctr" defTabSz="1219200" rtl="0" eaLnBrk="1" latinLnBrk="0" hangingPunct="1">
        <a:spcBef>
          <a:spcPct val="0"/>
        </a:spcBef>
        <a:buNone/>
        <a:defRPr sz="5865" kern="1200">
          <a:solidFill>
            <a:schemeClr val="tx1"/>
          </a:solidFill>
          <a:latin typeface="+mj-lt"/>
          <a:ea typeface="+mj-ea"/>
          <a:cs typeface="+mj-cs"/>
        </a:defRPr>
      </a:lvl1pPr>
    </p:titleStyle>
    <p:bodyStyle>
      <a:lvl1pPr marL="457200" indent="-457200" algn="l" defTabSz="1219200" rtl="0" eaLnBrk="1" latinLnBrk="0" hangingPunct="1">
        <a:spcBef>
          <a:spcPts val="130"/>
        </a:spcBef>
        <a:buFont typeface="Arial" panose="020B0604020202020204" pitchFamily="34" charset="0"/>
        <a:buChar char="•"/>
        <a:defRPr sz="4265" kern="1200">
          <a:solidFill>
            <a:schemeClr val="tx1"/>
          </a:solidFill>
          <a:latin typeface="+mn-lt"/>
          <a:ea typeface="+mn-ea"/>
          <a:cs typeface="+mn-cs"/>
        </a:defRPr>
      </a:lvl1pPr>
      <a:lvl2pPr marL="990600" indent="-381000" algn="l" defTabSz="1219200" rtl="0" eaLnBrk="1" latinLnBrk="0" hangingPunct="1">
        <a:spcBef>
          <a:spcPts val="130"/>
        </a:spcBef>
        <a:buFont typeface="Arial" panose="020B0604020202020204" pitchFamily="34" charset="0"/>
        <a:buChar char="–"/>
        <a:defRPr sz="3735" kern="1200">
          <a:solidFill>
            <a:schemeClr val="tx1"/>
          </a:solidFill>
          <a:latin typeface="+mn-lt"/>
          <a:ea typeface="+mn-ea"/>
          <a:cs typeface="+mn-cs"/>
        </a:defRPr>
      </a:lvl2pPr>
      <a:lvl3pPr marL="1524000" indent="-304800" algn="l" defTabSz="1219200" rtl="0" eaLnBrk="1" latinLnBrk="0" hangingPunct="1">
        <a:spcBef>
          <a:spcPts val="130"/>
        </a:spcBef>
        <a:buFont typeface="Arial" panose="020B0604020202020204" pitchFamily="34" charset="0"/>
        <a:buChar char="•"/>
        <a:defRPr sz="3200" kern="1200">
          <a:solidFill>
            <a:schemeClr val="tx1"/>
          </a:solidFill>
          <a:latin typeface="+mn-lt"/>
          <a:ea typeface="+mn-ea"/>
          <a:cs typeface="+mn-cs"/>
        </a:defRPr>
      </a:lvl3pPr>
      <a:lvl4pPr marL="21336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4pPr>
      <a:lvl5pPr marL="27432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5pPr>
      <a:lvl6pPr marL="33528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6pPr>
      <a:lvl7pPr marL="39624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7pPr>
      <a:lvl8pPr marL="45720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8pPr>
      <a:lvl9pPr marL="5181600" indent="-304800" algn="l" defTabSz="1219200" rtl="0" eaLnBrk="1" latinLnBrk="0" hangingPunct="1">
        <a:spcBef>
          <a:spcPts val="130"/>
        </a:spcBef>
        <a:buFont typeface="Arial" panose="020B0604020202020204" pitchFamily="34" charset="0"/>
        <a:buChar char="•"/>
        <a:defRPr sz="2665" kern="1200">
          <a:solidFill>
            <a:schemeClr val="tx1"/>
          </a:solidFill>
          <a:latin typeface="+mn-lt"/>
          <a:ea typeface="+mn-ea"/>
          <a:cs typeface="+mn-cs"/>
        </a:defRPr>
      </a:lvl9pPr>
    </p:bodyStyle>
    <p:otherStyle>
      <a:defPPr>
        <a:defRPr lang="zh-CN"/>
      </a:defPPr>
      <a:lvl1pPr marL="0" algn="l" defTabSz="1219200" rtl="0" eaLnBrk="1" latinLnBrk="0" hangingPunct="1">
        <a:defRPr sz="2400" kern="1200">
          <a:solidFill>
            <a:schemeClr val="tx1"/>
          </a:solidFill>
          <a:latin typeface="+mn-lt"/>
          <a:ea typeface="+mn-ea"/>
          <a:cs typeface="+mn-cs"/>
        </a:defRPr>
      </a:lvl1pPr>
      <a:lvl2pPr marL="609600" algn="l" defTabSz="1219200" rtl="0" eaLnBrk="1" latinLnBrk="0" hangingPunct="1">
        <a:defRPr sz="2400" kern="1200">
          <a:solidFill>
            <a:schemeClr val="tx1"/>
          </a:solidFill>
          <a:latin typeface="+mn-lt"/>
          <a:ea typeface="+mn-ea"/>
          <a:cs typeface="+mn-cs"/>
        </a:defRPr>
      </a:lvl2pPr>
      <a:lvl3pPr marL="1219200" algn="l" defTabSz="1219200" rtl="0" eaLnBrk="1" latinLnBrk="0" hangingPunct="1">
        <a:defRPr sz="2400" kern="1200">
          <a:solidFill>
            <a:schemeClr val="tx1"/>
          </a:solidFill>
          <a:latin typeface="+mn-lt"/>
          <a:ea typeface="+mn-ea"/>
          <a:cs typeface="+mn-cs"/>
        </a:defRPr>
      </a:lvl3pPr>
      <a:lvl4pPr marL="1828800" algn="l" defTabSz="1219200" rtl="0" eaLnBrk="1" latinLnBrk="0" hangingPunct="1">
        <a:defRPr sz="2400" kern="1200">
          <a:solidFill>
            <a:schemeClr val="tx1"/>
          </a:solidFill>
          <a:latin typeface="+mn-lt"/>
          <a:ea typeface="+mn-ea"/>
          <a:cs typeface="+mn-cs"/>
        </a:defRPr>
      </a:lvl4pPr>
      <a:lvl5pPr marL="2438400" algn="l" defTabSz="1219200" rtl="0" eaLnBrk="1" latinLnBrk="0" hangingPunct="1">
        <a:defRPr sz="2400" kern="1200">
          <a:solidFill>
            <a:schemeClr val="tx1"/>
          </a:solidFill>
          <a:latin typeface="+mn-lt"/>
          <a:ea typeface="+mn-ea"/>
          <a:cs typeface="+mn-cs"/>
        </a:defRPr>
      </a:lvl5pPr>
      <a:lvl6pPr marL="3048000" algn="l" defTabSz="1219200" rtl="0" eaLnBrk="1" latinLnBrk="0" hangingPunct="1">
        <a:defRPr sz="2400" kern="1200">
          <a:solidFill>
            <a:schemeClr val="tx1"/>
          </a:solidFill>
          <a:latin typeface="+mn-lt"/>
          <a:ea typeface="+mn-ea"/>
          <a:cs typeface="+mn-cs"/>
        </a:defRPr>
      </a:lvl6pPr>
      <a:lvl7pPr marL="3657600" algn="l" defTabSz="1219200" rtl="0" eaLnBrk="1" latinLnBrk="0" hangingPunct="1">
        <a:defRPr sz="2400" kern="1200">
          <a:solidFill>
            <a:schemeClr val="tx1"/>
          </a:solidFill>
          <a:latin typeface="+mn-lt"/>
          <a:ea typeface="+mn-ea"/>
          <a:cs typeface="+mn-cs"/>
        </a:defRPr>
      </a:lvl7pPr>
      <a:lvl8pPr marL="4267200" algn="l" defTabSz="1219200" rtl="0" eaLnBrk="1" latinLnBrk="0" hangingPunct="1">
        <a:defRPr sz="2400" kern="1200">
          <a:solidFill>
            <a:schemeClr val="tx1"/>
          </a:solidFill>
          <a:latin typeface="+mn-lt"/>
          <a:ea typeface="+mn-ea"/>
          <a:cs typeface="+mn-cs"/>
        </a:defRPr>
      </a:lvl8pPr>
      <a:lvl9pPr marL="4876800" algn="l" defTabSz="121920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标题占位符 1"/>
          <p:cNvSpPr>
            <a:spLocks noGrp="1"/>
          </p:cNvSpPr>
          <p:nvPr>
            <p:ph type="title"/>
          </p:nvPr>
        </p:nvSpPr>
        <p:spPr>
          <a:xfrm>
            <a:off x="838200" y="365125"/>
            <a:ext cx="10515600" cy="1325563"/>
          </a:xfrm>
          <a:prstGeom prst="rect">
            <a:avLst/>
          </a:prstGeom>
          <a:noFill/>
          <a:ln w="9525">
            <a:noFill/>
          </a:ln>
        </p:spPr>
        <p:txBody>
          <a:bodyPr vert="horz" lIns="91440" tIns="45720" rIns="91440" bIns="45720" anchor="ctr" anchorCtr="0"/>
          <a:lstStyle/>
          <a:p>
            <a:pPr lvl="0"/>
            <a:r>
              <a:rPr lang="zh-CN" altLang="en-US"/>
              <a:t>单击此处编辑母版标题样式</a:t>
            </a:r>
            <a:endParaRPr lang="zh-CN" altLang="en-US"/>
          </a:p>
        </p:txBody>
      </p:sp>
      <p:sp>
        <p:nvSpPr>
          <p:cNvPr id="3075" name="文本占位符 2"/>
          <p:cNvSpPr>
            <a:spLocks noGrp="1"/>
          </p:cNvSpPr>
          <p:nvPr>
            <p:ph type="body"/>
          </p:nvPr>
        </p:nvSpPr>
        <p:spPr>
          <a:xfrm>
            <a:off x="838200" y="1825625"/>
            <a:ext cx="10515600" cy="4352925"/>
          </a:xfrm>
          <a:prstGeom prst="rect">
            <a:avLst/>
          </a:prstGeom>
          <a:noFill/>
          <a:ln w="9525">
            <a:noFill/>
          </a:ln>
        </p:spPr>
        <p:txBody>
          <a:bodyPr vert="horz" lIns="91440" tIns="45720" rIns="91440" bIns="45720" anchor="t" anchorCtr="0"/>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pPr fontAlgn="base"/>
            <a:fld id="{447D0B11-C51C-4F7F-8044-6DB1506A2F52}" type="datetimeFigureOut">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
        <p:nvSpPr>
          <p:cNvPr id="5" name="页脚占位符 4"/>
          <p:cNvSpPr>
            <a:spLocks noGrp="1"/>
          </p:cNvSpPr>
          <p:nvPr>
            <p:ph type="ftr" sz="quarter" idx="3"/>
          </p:nvPr>
        </p:nvSpPr>
        <p:spPr>
          <a:xfrm>
            <a:off x="4038600" y="6357938"/>
            <a:ext cx="4114800" cy="365125"/>
          </a:xfrm>
          <a:prstGeom prst="rect">
            <a:avLst/>
          </a:prstGeom>
        </p:spPr>
        <p:txBody>
          <a:bodyPr vert="horz" lIns="91440" tIns="45720" rIns="91440" bIns="45720" rtlCol="0" anchor="ctr"/>
          <a:lstStyle>
            <a:lvl1pPr algn="ctr">
              <a:defRPr sz="1200">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pPr fontAlgn="base"/>
            <a:endParaRPr lang="zh-CN" altLang="en-US" strike="noStrike" noProof="1"/>
          </a:p>
        </p:txBody>
      </p:sp>
      <p:sp>
        <p:nvSpPr>
          <p:cNvPr id="6" name="灯片编号占位符 5"/>
          <p:cNvSpPr>
            <a:spLocks noGrp="1"/>
          </p:cNvSpPr>
          <p:nvPr>
            <p:ph type="sldNum" sz="quarter" idx="4"/>
          </p:nvPr>
        </p:nvSpPr>
        <p:spPr>
          <a:xfrm>
            <a:off x="8610600" y="6357938"/>
            <a:ext cx="2743200" cy="365125"/>
          </a:xfrm>
          <a:prstGeom prst="rect">
            <a:avLst/>
          </a:prstGeom>
        </p:spPr>
        <p:txBody>
          <a:bodyPr vert="horz" lIns="91440" tIns="45720" rIns="91440" bIns="45720" rtlCol="0" anchor="ctr"/>
          <a:lstStyle>
            <a:lvl1pPr algn="r">
              <a:defRPr sz="1200">
                <a:solidFill>
                  <a:schemeClr val="tx1">
                    <a:tint val="75000"/>
                  </a:schemeClr>
                </a:solidFill>
                <a:latin typeface="微软雅黑" panose="020B0503020204020204" charset="-122"/>
                <a:ea typeface="微软雅黑" panose="020B0503020204020204" charset="-122"/>
                <a:cs typeface="微软雅黑" panose="020B0503020204020204" charset="-122"/>
              </a:defRPr>
            </a:lvl1pPr>
          </a:lstStyle>
          <a:p>
            <a:pPr fontAlgn="base"/>
            <a:fld id="{679FDA23-309A-4657-87F2-7CE40EB68598}" type="slidenum">
              <a:rPr lang="zh-CN" altLang="en-US" strike="noStrike" noProof="1" smtClean="0">
                <a:latin typeface="微软雅黑" panose="020B0503020204020204" charset="-122"/>
                <a:ea typeface="微软雅黑" panose="020B0503020204020204" charset="-122"/>
                <a:cs typeface="微软雅黑" panose="020B0503020204020204" charset="-122"/>
              </a:rPr>
            </a:fld>
            <a:endParaRPr lang="zh-CN" altLang="en-US" strike="noStrike" noProof="1"/>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微软雅黑" panose="020B0503020204020204" charset="-122"/>
          <a:ea typeface="微软雅黑" panose="020B0503020204020204" charset="-122"/>
          <a:cs typeface="微软雅黑" panose="020B0503020204020204" charset="-122"/>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微软雅黑" panose="020B0503020204020204" charset="-122"/>
          <a:ea typeface="微软雅黑" panose="020B0503020204020204" charset="-122"/>
          <a:cs typeface="微软雅黑" panose="020B0503020204020204" charset="-122"/>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微软雅黑" panose="020B0503020204020204" charset="-122"/>
          <a:ea typeface="微软雅黑" panose="020B0503020204020204" charset="-122"/>
          <a:cs typeface="微软雅黑" panose="020B0503020204020204" charset="-122"/>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微软雅黑" panose="020B0503020204020204" charset="-122"/>
          <a:ea typeface="微软雅黑" panose="020B0503020204020204" charset="-122"/>
          <a:cs typeface="微软雅黑" panose="020B0503020204020204" charset="-122"/>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微软雅黑" panose="020B0503020204020204" charset="-122"/>
        </a:defRPr>
      </a:lvl4pPr>
      <a:lvl5pPr marL="205676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charset="-122"/>
          <a:ea typeface="微软雅黑" panose="020B0503020204020204" charset="-122"/>
          <a:cs typeface="微软雅黑" panose="020B0503020204020204" charset="-12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5365"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2"/>
            </p:custDataLst>
          </p:nvPr>
        </p:nvSpPr>
        <p:spPr>
          <a:xfrm>
            <a:off x="608400" y="608400"/>
            <a:ext cx="10969200" cy="705600"/>
          </a:xfrm>
          <a:prstGeom prst="rect">
            <a:avLst/>
          </a:prstGeom>
        </p:spPr>
        <p:txBody>
          <a:bodyPr vert="horz" lIns="90170" tIns="46990" rIns="90170" bIns="46990" rtlCol="0" anchor="ctr" anchorCtr="0">
            <a:normAutofit/>
          </a:bodyPr>
          <a:lstStyle/>
          <a:p>
            <a:r>
              <a:rPr lang="zh-CN" altLang="en-US" dirty="0"/>
              <a:t>单击此处编辑母版标题样式</a:t>
            </a:r>
            <a:endParaRPr lang="zh-CN" altLang="en-US" dirty="0"/>
          </a:p>
        </p:txBody>
      </p:sp>
      <p:sp>
        <p:nvSpPr>
          <p:cNvPr id="3" name="文本占位符 2"/>
          <p:cNvSpPr>
            <a:spLocks noGrp="1"/>
          </p:cNvSpPr>
          <p:nvPr>
            <p:ph type="body" idx="1"/>
            <p:custDataLst>
              <p:tags r:id="rId13"/>
            </p:custDataLst>
          </p:nvPr>
        </p:nvSpPr>
        <p:spPr>
          <a:xfrm>
            <a:off x="608400" y="1490400"/>
            <a:ext cx="10969200" cy="4759200"/>
          </a:xfrm>
          <a:prstGeom prst="rect">
            <a:avLst/>
          </a:prstGeom>
        </p:spPr>
        <p:txBody>
          <a:bodyPr vert="horz" lIns="90000" tIns="46800" rIns="90000" bIns="46800" rtlCol="0">
            <a:normAutofit/>
          </a:bodyPr>
          <a:lstStyle/>
          <a:p>
            <a:pPr lvl="0"/>
            <a:r>
              <a:rPr lang="zh-CN" altLang="en-US" dirty="0"/>
              <a:t>单击此处编辑母版文本样式</a:t>
            </a:r>
            <a:endParaRPr lang="zh-CN" altLang="en-US" dirty="0"/>
          </a:p>
          <a:p>
            <a:pPr lvl="1"/>
            <a:r>
              <a:rPr lang="zh-CN" altLang="en-US" dirty="0"/>
              <a:t>第二级</a:t>
            </a:r>
            <a:endParaRPr lang="zh-CN" altLang="en-US" dirty="0"/>
          </a:p>
          <a:p>
            <a:pPr lvl="2"/>
            <a:r>
              <a:rPr lang="zh-CN" altLang="en-US" dirty="0"/>
              <a:t>第三级</a:t>
            </a:r>
            <a:endParaRPr lang="zh-CN" altLang="en-US" dirty="0"/>
          </a:p>
          <a:p>
            <a:pPr lvl="3"/>
            <a:r>
              <a:rPr lang="zh-CN" altLang="en-US" dirty="0"/>
              <a:t>第四级</a:t>
            </a:r>
            <a:endParaRPr lang="zh-CN" altLang="en-US" dirty="0"/>
          </a:p>
          <a:p>
            <a:pPr lvl="4"/>
            <a:r>
              <a:rPr lang="zh-CN" altLang="en-US" dirty="0"/>
              <a:t>第五级</a:t>
            </a:r>
            <a:endParaRPr lang="zh-CN" altLang="en-US" dirty="0"/>
          </a:p>
        </p:txBody>
      </p:sp>
      <p:sp>
        <p:nvSpPr>
          <p:cNvPr id="4" name="日期占位符 3"/>
          <p:cNvSpPr>
            <a:spLocks noGrp="1"/>
          </p:cNvSpPr>
          <p:nvPr>
            <p:ph type="dt" sz="half" idx="2"/>
            <p:custDataLst>
              <p:tags r:id="rId14"/>
            </p:custDataLst>
          </p:nvPr>
        </p:nvSpPr>
        <p:spPr>
          <a:xfrm>
            <a:off x="612000" y="6314400"/>
            <a:ext cx="2700000" cy="316800"/>
          </a:xfrm>
          <a:prstGeom prst="rect">
            <a:avLst/>
          </a:prstGeom>
        </p:spPr>
        <p:txBody>
          <a:bodyPr vert="horz" lIns="91440" tIns="45720" rIns="91440" bIns="45720" rtlCol="0" anchor="ctr">
            <a:normAutofit/>
          </a:bodyPr>
          <a:lstStyle>
            <a:lvl1pPr algn="l">
              <a:defRPr sz="1000" baseline="0">
                <a:solidFill>
                  <a:schemeClr val="tx1">
                    <a:tint val="75000"/>
                  </a:schemeClr>
                </a:solidFill>
                <a:latin typeface="Arial" panose="020B0604020202020204" pitchFamily="34" charset="0"/>
                <a:ea typeface="微软雅黑" panose="020B0503020204020204" charset="-122"/>
              </a:defRPr>
            </a:lvl1pPr>
          </a:lstStyle>
          <a:p>
            <a:fld id="{760FBDFE-C587-4B4C-A407-44438C67B59E}" type="datetimeFigureOut">
              <a:rPr lang="zh-CN" altLang="en-US" smtClean="0"/>
            </a:fld>
            <a:endParaRPr lang="zh-CN" altLang="en-US"/>
          </a:p>
        </p:txBody>
      </p:sp>
      <p:sp>
        <p:nvSpPr>
          <p:cNvPr id="5" name="页脚占位符 4"/>
          <p:cNvSpPr>
            <a:spLocks noGrp="1"/>
          </p:cNvSpPr>
          <p:nvPr>
            <p:ph type="ftr" sz="quarter" idx="3"/>
            <p:custDataLst>
              <p:tags r:id="rId15"/>
            </p:custDataLst>
          </p:nvPr>
        </p:nvSpPr>
        <p:spPr>
          <a:xfrm>
            <a:off x="4116000" y="6314400"/>
            <a:ext cx="3960000" cy="316800"/>
          </a:xfrm>
          <a:prstGeom prst="rect">
            <a:avLst/>
          </a:prstGeom>
        </p:spPr>
        <p:txBody>
          <a:bodyPr vert="horz" lIns="91440" tIns="45720" rIns="91440" bIns="45720" rtlCol="0" anchor="ctr">
            <a:normAutofit/>
          </a:bodyPr>
          <a:lstStyle>
            <a:lvl1pPr algn="ctr">
              <a:defRPr sz="1000" baseline="0">
                <a:solidFill>
                  <a:schemeClr val="tx1">
                    <a:tint val="75000"/>
                  </a:schemeClr>
                </a:solidFill>
                <a:latin typeface="Arial" panose="020B0604020202020204" pitchFamily="34" charset="0"/>
                <a:ea typeface="微软雅黑" panose="020B0503020204020204" charset="-122"/>
              </a:defRPr>
            </a:lvl1pPr>
          </a:lstStyle>
          <a:p>
            <a:endParaRPr lang="zh-CN" altLang="en-US" dirty="0"/>
          </a:p>
        </p:txBody>
      </p:sp>
      <p:sp>
        <p:nvSpPr>
          <p:cNvPr id="6" name="灯片编号占位符 5"/>
          <p:cNvSpPr>
            <a:spLocks noGrp="1"/>
          </p:cNvSpPr>
          <p:nvPr>
            <p:ph type="sldNum" sz="quarter" idx="4"/>
            <p:custDataLst>
              <p:tags r:id="rId16"/>
            </p:custDataLst>
          </p:nvPr>
        </p:nvSpPr>
        <p:spPr>
          <a:xfrm>
            <a:off x="8877600" y="6314400"/>
            <a:ext cx="2700000" cy="316800"/>
          </a:xfrm>
          <a:prstGeom prst="rect">
            <a:avLst/>
          </a:prstGeom>
        </p:spPr>
        <p:txBody>
          <a:bodyPr vert="horz" lIns="91440" tIns="45720" rIns="91440" bIns="45720" rtlCol="0" anchor="ctr">
            <a:normAutofit/>
          </a:bodyPr>
          <a:lstStyle>
            <a:lvl1pPr algn="r">
              <a:defRPr sz="1000" baseline="0">
                <a:solidFill>
                  <a:schemeClr val="tx1">
                    <a:tint val="75000"/>
                  </a:schemeClr>
                </a:solidFill>
                <a:latin typeface="Arial" panose="020B0604020202020204" pitchFamily="34" charset="0"/>
                <a:ea typeface="微软雅黑" panose="020B0503020204020204" charset="-122"/>
              </a:defRPr>
            </a:lvl1pPr>
          </a:lstStyle>
          <a:p>
            <a:fld id="{49AE70B2-8BF9-45C0-BB95-33D1B9D3A854}" type="slidenum">
              <a:rPr lang="zh-CN" altLang="en-US" smtClean="0"/>
            </a:fld>
            <a:endParaRPr lang="zh-CN" altLang="en-US" dirty="0"/>
          </a:p>
        </p:txBody>
      </p:sp>
    </p:spTree>
    <p:custDataLst>
      <p:tags r:id="rId17"/>
    </p:custData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Lst>
  <p:txStyles>
    <p:titleStyle>
      <a:lvl1pPr algn="l" defTabSz="914400" rtl="0" eaLnBrk="1" fontAlgn="auto" latinLnBrk="0" hangingPunct="1">
        <a:lnSpc>
          <a:spcPct val="100000"/>
        </a:lnSpc>
        <a:spcBef>
          <a:spcPct val="0"/>
        </a:spcBef>
        <a:buNone/>
        <a:defRPr sz="3600" b="1" u="none" strike="noStrike" kern="1200" cap="none" spc="3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p:titleStyle>
    <p:bodyStyle>
      <a:lvl1pPr marL="228600" indent="-228600" algn="l" defTabSz="914400" rtl="0" eaLnBrk="1" fontAlgn="auto" latinLnBrk="0" hangingPunct="1">
        <a:lnSpc>
          <a:spcPct val="130000"/>
        </a:lnSpc>
        <a:spcBef>
          <a:spcPts val="0"/>
        </a:spcBef>
        <a:spcAft>
          <a:spcPts val="1000"/>
        </a:spcAft>
        <a:buFont typeface="Arial" panose="020B0604020202020204" pitchFamily="34" charset="0"/>
        <a:buChar char="●"/>
        <a:defRPr sz="18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1pPr>
      <a:lvl2pPr marL="685800" indent="-228600" algn="l" defTabSz="914400" rtl="0" eaLnBrk="1" fontAlgn="auto" latinLnBrk="0" hangingPunct="1">
        <a:lnSpc>
          <a:spcPct val="120000"/>
        </a:lnSpc>
        <a:spcBef>
          <a:spcPts val="0"/>
        </a:spcBef>
        <a:spcAft>
          <a:spcPts val="600"/>
        </a:spcAft>
        <a:buFont typeface="Arial" panose="020B0604020202020204" pitchFamily="34" charset="0"/>
        <a:buChar char="●"/>
        <a:tabLst>
          <a:tab pos="1609725" algn="l"/>
          <a:tab pos="1609725" algn="l"/>
          <a:tab pos="1609725" algn="l"/>
          <a:tab pos="1609725" algn="l"/>
        </a:tabLst>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2pPr>
      <a:lvl3pPr marL="1143000" indent="-228600" algn="l" defTabSz="914400" rtl="0" eaLnBrk="1" fontAlgn="auto" latinLnBrk="0" hangingPunct="1">
        <a:lnSpc>
          <a:spcPct val="120000"/>
        </a:lnSpc>
        <a:spcBef>
          <a:spcPts val="0"/>
        </a:spcBef>
        <a:spcAft>
          <a:spcPts val="600"/>
        </a:spcAft>
        <a:buFont typeface="Arial" panose="020B0604020202020204" pitchFamily="34" charset="0"/>
        <a:buChar char="●"/>
        <a:defRPr sz="16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3pPr>
      <a:lvl4pPr marL="1600200" indent="-228600" algn="l" defTabSz="914400" rtl="0" eaLnBrk="1" fontAlgn="auto" latinLnBrk="0" hangingPunct="1">
        <a:lnSpc>
          <a:spcPct val="120000"/>
        </a:lnSpc>
        <a:spcBef>
          <a:spcPts val="0"/>
        </a:spcBef>
        <a:spcAft>
          <a:spcPts val="300"/>
        </a:spcAft>
        <a:buFont typeface="Wingdings" panose="05000000000000000000"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4pPr>
      <a:lvl5pPr marL="2057400" indent="-228600" algn="l" defTabSz="914400" rtl="0" eaLnBrk="1" fontAlgn="auto" latinLnBrk="0" hangingPunct="1">
        <a:lnSpc>
          <a:spcPct val="120000"/>
        </a:lnSpc>
        <a:spcBef>
          <a:spcPts val="0"/>
        </a:spcBef>
        <a:spcAft>
          <a:spcPts val="300"/>
        </a:spcAft>
        <a:buFont typeface="Arial" panose="020B0604020202020204" pitchFamily="34" charset="0"/>
        <a:buChar char="•"/>
        <a:defRPr sz="1400" u="none" strike="noStrike" kern="1200" cap="none" spc="150" normalizeH="0" baseline="0">
          <a:solidFill>
            <a:schemeClr val="tx1">
              <a:lumMod val="65000"/>
              <a:lumOff val="35000"/>
            </a:schemeClr>
          </a:solidFill>
          <a:uFillTx/>
          <a:latin typeface="Arial" panose="020B0604020202020204" pitchFamily="34" charset="0"/>
          <a:ea typeface="微软雅黑" panose="020B050302020402020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13.xml"/><Relationship Id="rId4" Type="http://schemas.openxmlformats.org/officeDocument/2006/relationships/tags" Target="../tags/tag72.xml"/><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tags" Target="../tags/tag69.xml"/></Relationships>
</file>

<file path=ppt/slides/_rels/slide10.xml.rels><?xml version="1.0" encoding="UTF-8" standalone="yes"?>
<Relationships xmlns="http://schemas.openxmlformats.org/package/2006/relationships"><Relationship Id="rId9" Type="http://schemas.openxmlformats.org/officeDocument/2006/relationships/tags" Target="../tags/tag345.xml"/><Relationship Id="rId8" Type="http://schemas.openxmlformats.org/officeDocument/2006/relationships/tags" Target="../tags/tag344.xml"/><Relationship Id="rId7" Type="http://schemas.openxmlformats.org/officeDocument/2006/relationships/tags" Target="../tags/tag343.xml"/><Relationship Id="rId6" Type="http://schemas.openxmlformats.org/officeDocument/2006/relationships/tags" Target="../tags/tag342.xml"/><Relationship Id="rId53" Type="http://schemas.openxmlformats.org/officeDocument/2006/relationships/notesSlide" Target="../notesSlides/notesSlide8.xml"/><Relationship Id="rId52" Type="http://schemas.openxmlformats.org/officeDocument/2006/relationships/slideLayout" Target="../slideLayouts/slideLayout26.xml"/><Relationship Id="rId51" Type="http://schemas.openxmlformats.org/officeDocument/2006/relationships/tags" Target="../tags/tag387.xml"/><Relationship Id="rId50" Type="http://schemas.openxmlformats.org/officeDocument/2006/relationships/tags" Target="../tags/tag386.xml"/><Relationship Id="rId5" Type="http://schemas.openxmlformats.org/officeDocument/2006/relationships/tags" Target="../tags/tag341.xml"/><Relationship Id="rId49" Type="http://schemas.openxmlformats.org/officeDocument/2006/relationships/tags" Target="../tags/tag385.xml"/><Relationship Id="rId48" Type="http://schemas.openxmlformats.org/officeDocument/2006/relationships/tags" Target="../tags/tag384.xml"/><Relationship Id="rId47" Type="http://schemas.openxmlformats.org/officeDocument/2006/relationships/tags" Target="../tags/tag383.xml"/><Relationship Id="rId46" Type="http://schemas.openxmlformats.org/officeDocument/2006/relationships/tags" Target="../tags/tag382.xml"/><Relationship Id="rId45" Type="http://schemas.openxmlformats.org/officeDocument/2006/relationships/tags" Target="../tags/tag381.xml"/><Relationship Id="rId44" Type="http://schemas.openxmlformats.org/officeDocument/2006/relationships/tags" Target="../tags/tag380.xml"/><Relationship Id="rId43" Type="http://schemas.openxmlformats.org/officeDocument/2006/relationships/tags" Target="../tags/tag379.xml"/><Relationship Id="rId42" Type="http://schemas.openxmlformats.org/officeDocument/2006/relationships/tags" Target="../tags/tag378.xml"/><Relationship Id="rId41" Type="http://schemas.openxmlformats.org/officeDocument/2006/relationships/tags" Target="../tags/tag377.xml"/><Relationship Id="rId40" Type="http://schemas.openxmlformats.org/officeDocument/2006/relationships/tags" Target="../tags/tag376.xml"/><Relationship Id="rId4" Type="http://schemas.openxmlformats.org/officeDocument/2006/relationships/tags" Target="../tags/tag340.xml"/><Relationship Id="rId39" Type="http://schemas.openxmlformats.org/officeDocument/2006/relationships/tags" Target="../tags/tag375.xml"/><Relationship Id="rId38" Type="http://schemas.openxmlformats.org/officeDocument/2006/relationships/tags" Target="../tags/tag374.xml"/><Relationship Id="rId37" Type="http://schemas.openxmlformats.org/officeDocument/2006/relationships/tags" Target="../tags/tag373.xml"/><Relationship Id="rId36" Type="http://schemas.openxmlformats.org/officeDocument/2006/relationships/tags" Target="../tags/tag372.xml"/><Relationship Id="rId35" Type="http://schemas.openxmlformats.org/officeDocument/2006/relationships/tags" Target="../tags/tag371.xml"/><Relationship Id="rId34" Type="http://schemas.openxmlformats.org/officeDocument/2006/relationships/tags" Target="../tags/tag370.xml"/><Relationship Id="rId33" Type="http://schemas.openxmlformats.org/officeDocument/2006/relationships/tags" Target="../tags/tag369.xml"/><Relationship Id="rId32" Type="http://schemas.openxmlformats.org/officeDocument/2006/relationships/tags" Target="../tags/tag368.xml"/><Relationship Id="rId31" Type="http://schemas.openxmlformats.org/officeDocument/2006/relationships/tags" Target="../tags/tag367.xml"/><Relationship Id="rId30" Type="http://schemas.openxmlformats.org/officeDocument/2006/relationships/tags" Target="../tags/tag366.xml"/><Relationship Id="rId3" Type="http://schemas.openxmlformats.org/officeDocument/2006/relationships/tags" Target="../tags/tag339.xml"/><Relationship Id="rId29" Type="http://schemas.openxmlformats.org/officeDocument/2006/relationships/tags" Target="../tags/tag365.xml"/><Relationship Id="rId28" Type="http://schemas.openxmlformats.org/officeDocument/2006/relationships/tags" Target="../tags/tag364.xml"/><Relationship Id="rId27" Type="http://schemas.openxmlformats.org/officeDocument/2006/relationships/tags" Target="../tags/tag363.xml"/><Relationship Id="rId26" Type="http://schemas.openxmlformats.org/officeDocument/2006/relationships/tags" Target="../tags/tag362.xml"/><Relationship Id="rId25" Type="http://schemas.openxmlformats.org/officeDocument/2006/relationships/tags" Target="../tags/tag361.xml"/><Relationship Id="rId24" Type="http://schemas.openxmlformats.org/officeDocument/2006/relationships/tags" Target="../tags/tag360.xml"/><Relationship Id="rId23" Type="http://schemas.openxmlformats.org/officeDocument/2006/relationships/tags" Target="../tags/tag359.xml"/><Relationship Id="rId22" Type="http://schemas.openxmlformats.org/officeDocument/2006/relationships/tags" Target="../tags/tag358.xml"/><Relationship Id="rId21" Type="http://schemas.openxmlformats.org/officeDocument/2006/relationships/tags" Target="../tags/tag357.xml"/><Relationship Id="rId20" Type="http://schemas.openxmlformats.org/officeDocument/2006/relationships/tags" Target="../tags/tag356.xml"/><Relationship Id="rId2" Type="http://schemas.openxmlformats.org/officeDocument/2006/relationships/tags" Target="../tags/tag338.xml"/><Relationship Id="rId19" Type="http://schemas.openxmlformats.org/officeDocument/2006/relationships/tags" Target="../tags/tag355.xml"/><Relationship Id="rId18" Type="http://schemas.openxmlformats.org/officeDocument/2006/relationships/tags" Target="../tags/tag354.xml"/><Relationship Id="rId17" Type="http://schemas.openxmlformats.org/officeDocument/2006/relationships/tags" Target="../tags/tag353.xml"/><Relationship Id="rId16" Type="http://schemas.openxmlformats.org/officeDocument/2006/relationships/tags" Target="../tags/tag352.xml"/><Relationship Id="rId15" Type="http://schemas.openxmlformats.org/officeDocument/2006/relationships/tags" Target="../tags/tag351.xml"/><Relationship Id="rId14" Type="http://schemas.openxmlformats.org/officeDocument/2006/relationships/tags" Target="../tags/tag350.xml"/><Relationship Id="rId13" Type="http://schemas.openxmlformats.org/officeDocument/2006/relationships/tags" Target="../tags/tag349.xml"/><Relationship Id="rId12" Type="http://schemas.openxmlformats.org/officeDocument/2006/relationships/tags" Target="../tags/tag348.xml"/><Relationship Id="rId11" Type="http://schemas.openxmlformats.org/officeDocument/2006/relationships/tags" Target="../tags/tag347.xml"/><Relationship Id="rId10" Type="http://schemas.openxmlformats.org/officeDocument/2006/relationships/tags" Target="../tags/tag346.xml"/><Relationship Id="rId1" Type="http://schemas.openxmlformats.org/officeDocument/2006/relationships/tags" Target="../tags/tag337.xml"/></Relationships>
</file>

<file path=ppt/slides/_rels/slide11.xml.rels><?xml version="1.0" encoding="UTF-8" standalone="yes"?>
<Relationships xmlns="http://schemas.openxmlformats.org/package/2006/relationships"><Relationship Id="rId9" Type="http://schemas.openxmlformats.org/officeDocument/2006/relationships/tags" Target="../tags/tag396.xml"/><Relationship Id="rId8" Type="http://schemas.openxmlformats.org/officeDocument/2006/relationships/tags" Target="../tags/tag395.xml"/><Relationship Id="rId7" Type="http://schemas.openxmlformats.org/officeDocument/2006/relationships/tags" Target="../tags/tag394.xml"/><Relationship Id="rId6" Type="http://schemas.openxmlformats.org/officeDocument/2006/relationships/tags" Target="../tags/tag393.xml"/><Relationship Id="rId5" Type="http://schemas.openxmlformats.org/officeDocument/2006/relationships/tags" Target="../tags/tag392.xml"/><Relationship Id="rId4" Type="http://schemas.openxmlformats.org/officeDocument/2006/relationships/tags" Target="../tags/tag391.xml"/><Relationship Id="rId3" Type="http://schemas.openxmlformats.org/officeDocument/2006/relationships/tags" Target="../tags/tag390.xml"/><Relationship Id="rId2" Type="http://schemas.openxmlformats.org/officeDocument/2006/relationships/tags" Target="../tags/tag389.xml"/><Relationship Id="rId14" Type="http://schemas.openxmlformats.org/officeDocument/2006/relationships/notesSlide" Target="../notesSlides/notesSlide9.xml"/><Relationship Id="rId13" Type="http://schemas.openxmlformats.org/officeDocument/2006/relationships/slideLayout" Target="../slideLayouts/slideLayout27.xml"/><Relationship Id="rId12" Type="http://schemas.openxmlformats.org/officeDocument/2006/relationships/tags" Target="../tags/tag399.xml"/><Relationship Id="rId11" Type="http://schemas.openxmlformats.org/officeDocument/2006/relationships/tags" Target="../tags/tag398.xml"/><Relationship Id="rId10" Type="http://schemas.openxmlformats.org/officeDocument/2006/relationships/tags" Target="../tags/tag397.xml"/><Relationship Id="rId1" Type="http://schemas.openxmlformats.org/officeDocument/2006/relationships/tags" Target="../tags/tag388.xml"/></Relationships>
</file>

<file path=ppt/slides/_rels/slide12.xml.rels><?xml version="1.0" encoding="UTF-8" standalone="yes"?>
<Relationships xmlns="http://schemas.openxmlformats.org/package/2006/relationships"><Relationship Id="rId9" Type="http://schemas.openxmlformats.org/officeDocument/2006/relationships/tags" Target="../tags/tag408.xml"/><Relationship Id="rId8" Type="http://schemas.openxmlformats.org/officeDocument/2006/relationships/tags" Target="../tags/tag407.xml"/><Relationship Id="rId7" Type="http://schemas.openxmlformats.org/officeDocument/2006/relationships/tags" Target="../tags/tag406.xml"/><Relationship Id="rId6" Type="http://schemas.openxmlformats.org/officeDocument/2006/relationships/tags" Target="../tags/tag405.xml"/><Relationship Id="rId5" Type="http://schemas.openxmlformats.org/officeDocument/2006/relationships/tags" Target="../tags/tag404.xml"/><Relationship Id="rId4" Type="http://schemas.openxmlformats.org/officeDocument/2006/relationships/tags" Target="../tags/tag403.xml"/><Relationship Id="rId3" Type="http://schemas.openxmlformats.org/officeDocument/2006/relationships/tags" Target="../tags/tag402.xml"/><Relationship Id="rId24" Type="http://schemas.openxmlformats.org/officeDocument/2006/relationships/notesSlide" Target="../notesSlides/notesSlide10.xml"/><Relationship Id="rId23" Type="http://schemas.openxmlformats.org/officeDocument/2006/relationships/slideLayout" Target="../slideLayouts/slideLayout28.xml"/><Relationship Id="rId22" Type="http://schemas.openxmlformats.org/officeDocument/2006/relationships/tags" Target="../tags/tag421.xml"/><Relationship Id="rId21" Type="http://schemas.openxmlformats.org/officeDocument/2006/relationships/tags" Target="../tags/tag420.xml"/><Relationship Id="rId20" Type="http://schemas.openxmlformats.org/officeDocument/2006/relationships/tags" Target="../tags/tag419.xml"/><Relationship Id="rId2" Type="http://schemas.openxmlformats.org/officeDocument/2006/relationships/tags" Target="../tags/tag401.xml"/><Relationship Id="rId19" Type="http://schemas.openxmlformats.org/officeDocument/2006/relationships/tags" Target="../tags/tag418.xml"/><Relationship Id="rId18" Type="http://schemas.openxmlformats.org/officeDocument/2006/relationships/tags" Target="../tags/tag417.xml"/><Relationship Id="rId17" Type="http://schemas.openxmlformats.org/officeDocument/2006/relationships/tags" Target="../tags/tag416.xml"/><Relationship Id="rId16" Type="http://schemas.openxmlformats.org/officeDocument/2006/relationships/tags" Target="../tags/tag415.xml"/><Relationship Id="rId15" Type="http://schemas.openxmlformats.org/officeDocument/2006/relationships/tags" Target="../tags/tag414.xml"/><Relationship Id="rId14" Type="http://schemas.openxmlformats.org/officeDocument/2006/relationships/tags" Target="../tags/tag413.xml"/><Relationship Id="rId13" Type="http://schemas.openxmlformats.org/officeDocument/2006/relationships/tags" Target="../tags/tag412.xml"/><Relationship Id="rId12" Type="http://schemas.openxmlformats.org/officeDocument/2006/relationships/tags" Target="../tags/tag411.xml"/><Relationship Id="rId11" Type="http://schemas.openxmlformats.org/officeDocument/2006/relationships/tags" Target="../tags/tag410.xml"/><Relationship Id="rId10" Type="http://schemas.openxmlformats.org/officeDocument/2006/relationships/tags" Target="../tags/tag409.xml"/><Relationship Id="rId1" Type="http://schemas.openxmlformats.org/officeDocument/2006/relationships/tags" Target="../tags/tag400.xml"/></Relationships>
</file>

<file path=ppt/slides/_rels/slide13.xml.rels><?xml version="1.0" encoding="UTF-8" standalone="yes"?>
<Relationships xmlns="http://schemas.openxmlformats.org/package/2006/relationships"><Relationship Id="rId9" Type="http://schemas.openxmlformats.org/officeDocument/2006/relationships/tags" Target="../tags/tag430.xml"/><Relationship Id="rId8" Type="http://schemas.openxmlformats.org/officeDocument/2006/relationships/tags" Target="../tags/tag429.xml"/><Relationship Id="rId7" Type="http://schemas.openxmlformats.org/officeDocument/2006/relationships/tags" Target="../tags/tag428.xml"/><Relationship Id="rId6" Type="http://schemas.openxmlformats.org/officeDocument/2006/relationships/tags" Target="../tags/tag427.xml"/><Relationship Id="rId5" Type="http://schemas.openxmlformats.org/officeDocument/2006/relationships/tags" Target="../tags/tag426.xml"/><Relationship Id="rId4" Type="http://schemas.openxmlformats.org/officeDocument/2006/relationships/tags" Target="../tags/tag425.xml"/><Relationship Id="rId3" Type="http://schemas.openxmlformats.org/officeDocument/2006/relationships/tags" Target="../tags/tag424.xml"/><Relationship Id="rId2" Type="http://schemas.openxmlformats.org/officeDocument/2006/relationships/tags" Target="../tags/tag423.xml"/><Relationship Id="rId18" Type="http://schemas.openxmlformats.org/officeDocument/2006/relationships/notesSlide" Target="../notesSlides/notesSlide11.xml"/><Relationship Id="rId17" Type="http://schemas.openxmlformats.org/officeDocument/2006/relationships/slideLayout" Target="../slideLayouts/slideLayout29.xml"/><Relationship Id="rId16" Type="http://schemas.openxmlformats.org/officeDocument/2006/relationships/tags" Target="../tags/tag437.xml"/><Relationship Id="rId15" Type="http://schemas.openxmlformats.org/officeDocument/2006/relationships/tags" Target="../tags/tag436.xml"/><Relationship Id="rId14" Type="http://schemas.openxmlformats.org/officeDocument/2006/relationships/tags" Target="../tags/tag435.xml"/><Relationship Id="rId13" Type="http://schemas.openxmlformats.org/officeDocument/2006/relationships/tags" Target="../tags/tag434.xml"/><Relationship Id="rId12" Type="http://schemas.openxmlformats.org/officeDocument/2006/relationships/tags" Target="../tags/tag433.xml"/><Relationship Id="rId11" Type="http://schemas.openxmlformats.org/officeDocument/2006/relationships/tags" Target="../tags/tag432.xml"/><Relationship Id="rId10" Type="http://schemas.openxmlformats.org/officeDocument/2006/relationships/tags" Target="../tags/tag431.xml"/><Relationship Id="rId1" Type="http://schemas.openxmlformats.org/officeDocument/2006/relationships/tags" Target="../tags/tag422.xml"/></Relationships>
</file>

<file path=ppt/slides/_rels/slide14.xml.rels><?xml version="1.0" encoding="UTF-8" standalone="yes"?>
<Relationships xmlns="http://schemas.openxmlformats.org/package/2006/relationships"><Relationship Id="rId9" Type="http://schemas.openxmlformats.org/officeDocument/2006/relationships/tags" Target="../tags/tag446.xml"/><Relationship Id="rId8" Type="http://schemas.openxmlformats.org/officeDocument/2006/relationships/tags" Target="../tags/tag445.xml"/><Relationship Id="rId7" Type="http://schemas.openxmlformats.org/officeDocument/2006/relationships/tags" Target="../tags/tag444.xml"/><Relationship Id="rId6" Type="http://schemas.openxmlformats.org/officeDocument/2006/relationships/tags" Target="../tags/tag443.xml"/><Relationship Id="rId5" Type="http://schemas.openxmlformats.org/officeDocument/2006/relationships/tags" Target="../tags/tag442.xml"/><Relationship Id="rId4" Type="http://schemas.openxmlformats.org/officeDocument/2006/relationships/tags" Target="../tags/tag441.xml"/><Relationship Id="rId3" Type="http://schemas.openxmlformats.org/officeDocument/2006/relationships/tags" Target="../tags/tag440.xml"/><Relationship Id="rId20" Type="http://schemas.openxmlformats.org/officeDocument/2006/relationships/notesSlide" Target="../notesSlides/notesSlide12.xml"/><Relationship Id="rId2" Type="http://schemas.openxmlformats.org/officeDocument/2006/relationships/tags" Target="../tags/tag439.xml"/><Relationship Id="rId19" Type="http://schemas.openxmlformats.org/officeDocument/2006/relationships/slideLayout" Target="../slideLayouts/slideLayout30.xml"/><Relationship Id="rId18" Type="http://schemas.openxmlformats.org/officeDocument/2006/relationships/tags" Target="../tags/tag455.xml"/><Relationship Id="rId17" Type="http://schemas.openxmlformats.org/officeDocument/2006/relationships/tags" Target="../tags/tag454.xml"/><Relationship Id="rId16" Type="http://schemas.openxmlformats.org/officeDocument/2006/relationships/tags" Target="../tags/tag453.xml"/><Relationship Id="rId15" Type="http://schemas.openxmlformats.org/officeDocument/2006/relationships/tags" Target="../tags/tag452.xml"/><Relationship Id="rId14" Type="http://schemas.openxmlformats.org/officeDocument/2006/relationships/tags" Target="../tags/tag451.xml"/><Relationship Id="rId13" Type="http://schemas.openxmlformats.org/officeDocument/2006/relationships/tags" Target="../tags/tag450.xml"/><Relationship Id="rId12" Type="http://schemas.openxmlformats.org/officeDocument/2006/relationships/tags" Target="../tags/tag449.xml"/><Relationship Id="rId11" Type="http://schemas.openxmlformats.org/officeDocument/2006/relationships/tags" Target="../tags/tag448.xml"/><Relationship Id="rId10" Type="http://schemas.openxmlformats.org/officeDocument/2006/relationships/tags" Target="../tags/tag447.xml"/><Relationship Id="rId1" Type="http://schemas.openxmlformats.org/officeDocument/2006/relationships/tags" Target="../tags/tag438.xml"/></Relationships>
</file>

<file path=ppt/slides/_rels/slide15.xml.rels><?xml version="1.0" encoding="UTF-8" standalone="yes"?>
<Relationships xmlns="http://schemas.openxmlformats.org/package/2006/relationships"><Relationship Id="rId9" Type="http://schemas.openxmlformats.org/officeDocument/2006/relationships/tags" Target="../tags/tag464.xml"/><Relationship Id="rId8" Type="http://schemas.openxmlformats.org/officeDocument/2006/relationships/tags" Target="../tags/tag463.xml"/><Relationship Id="rId7" Type="http://schemas.openxmlformats.org/officeDocument/2006/relationships/tags" Target="../tags/tag462.xml"/><Relationship Id="rId6" Type="http://schemas.openxmlformats.org/officeDocument/2006/relationships/tags" Target="../tags/tag461.xml"/><Relationship Id="rId5" Type="http://schemas.openxmlformats.org/officeDocument/2006/relationships/tags" Target="../tags/tag460.xml"/><Relationship Id="rId4" Type="http://schemas.openxmlformats.org/officeDocument/2006/relationships/tags" Target="../tags/tag459.xml"/><Relationship Id="rId3" Type="http://schemas.openxmlformats.org/officeDocument/2006/relationships/tags" Target="../tags/tag458.xml"/><Relationship Id="rId22" Type="http://schemas.openxmlformats.org/officeDocument/2006/relationships/notesSlide" Target="../notesSlides/notesSlide13.xml"/><Relationship Id="rId21" Type="http://schemas.openxmlformats.org/officeDocument/2006/relationships/slideLayout" Target="../slideLayouts/slideLayout31.xml"/><Relationship Id="rId20" Type="http://schemas.openxmlformats.org/officeDocument/2006/relationships/tags" Target="../tags/tag475.xml"/><Relationship Id="rId2" Type="http://schemas.openxmlformats.org/officeDocument/2006/relationships/tags" Target="../tags/tag457.xml"/><Relationship Id="rId19" Type="http://schemas.openxmlformats.org/officeDocument/2006/relationships/tags" Target="../tags/tag474.xml"/><Relationship Id="rId18" Type="http://schemas.openxmlformats.org/officeDocument/2006/relationships/tags" Target="../tags/tag473.xml"/><Relationship Id="rId17" Type="http://schemas.openxmlformats.org/officeDocument/2006/relationships/tags" Target="../tags/tag472.xml"/><Relationship Id="rId16" Type="http://schemas.openxmlformats.org/officeDocument/2006/relationships/tags" Target="../tags/tag471.xml"/><Relationship Id="rId15" Type="http://schemas.openxmlformats.org/officeDocument/2006/relationships/tags" Target="../tags/tag470.xml"/><Relationship Id="rId14" Type="http://schemas.openxmlformats.org/officeDocument/2006/relationships/tags" Target="../tags/tag469.xml"/><Relationship Id="rId13" Type="http://schemas.openxmlformats.org/officeDocument/2006/relationships/tags" Target="../tags/tag468.xml"/><Relationship Id="rId12" Type="http://schemas.openxmlformats.org/officeDocument/2006/relationships/tags" Target="../tags/tag467.xml"/><Relationship Id="rId11" Type="http://schemas.openxmlformats.org/officeDocument/2006/relationships/tags" Target="../tags/tag466.xml"/><Relationship Id="rId10" Type="http://schemas.openxmlformats.org/officeDocument/2006/relationships/tags" Target="../tags/tag465.xml"/><Relationship Id="rId1" Type="http://schemas.openxmlformats.org/officeDocument/2006/relationships/tags" Target="../tags/tag456.xml"/></Relationships>
</file>

<file path=ppt/slides/_rels/slide16.xml.rels><?xml version="1.0" encoding="UTF-8" standalone="yes"?>
<Relationships xmlns="http://schemas.openxmlformats.org/package/2006/relationships"><Relationship Id="rId9" Type="http://schemas.openxmlformats.org/officeDocument/2006/relationships/tags" Target="../tags/tag484.xml"/><Relationship Id="rId8" Type="http://schemas.openxmlformats.org/officeDocument/2006/relationships/tags" Target="../tags/tag483.xml"/><Relationship Id="rId7" Type="http://schemas.openxmlformats.org/officeDocument/2006/relationships/tags" Target="../tags/tag482.xml"/><Relationship Id="rId6" Type="http://schemas.openxmlformats.org/officeDocument/2006/relationships/tags" Target="../tags/tag481.xml"/><Relationship Id="rId5" Type="http://schemas.openxmlformats.org/officeDocument/2006/relationships/tags" Target="../tags/tag480.xml"/><Relationship Id="rId4" Type="http://schemas.openxmlformats.org/officeDocument/2006/relationships/tags" Target="../tags/tag479.xml"/><Relationship Id="rId3" Type="http://schemas.openxmlformats.org/officeDocument/2006/relationships/tags" Target="../tags/tag478.xml"/><Relationship Id="rId2" Type="http://schemas.openxmlformats.org/officeDocument/2006/relationships/tags" Target="../tags/tag477.xml"/><Relationship Id="rId11" Type="http://schemas.openxmlformats.org/officeDocument/2006/relationships/notesSlide" Target="../notesSlides/notesSlide14.xml"/><Relationship Id="rId10" Type="http://schemas.openxmlformats.org/officeDocument/2006/relationships/slideLayout" Target="../slideLayouts/slideLayout32.xml"/><Relationship Id="rId1" Type="http://schemas.openxmlformats.org/officeDocument/2006/relationships/tags" Target="../tags/tag476.xml"/></Relationships>
</file>

<file path=ppt/slides/_rels/slide17.xml.rels><?xml version="1.0" encoding="UTF-8" standalone="yes"?>
<Relationships xmlns="http://schemas.openxmlformats.org/package/2006/relationships"><Relationship Id="rId9" Type="http://schemas.openxmlformats.org/officeDocument/2006/relationships/tags" Target="../tags/tag493.xml"/><Relationship Id="rId8" Type="http://schemas.openxmlformats.org/officeDocument/2006/relationships/tags" Target="../tags/tag492.xml"/><Relationship Id="rId7" Type="http://schemas.openxmlformats.org/officeDocument/2006/relationships/tags" Target="../tags/tag491.xml"/><Relationship Id="rId6" Type="http://schemas.openxmlformats.org/officeDocument/2006/relationships/tags" Target="../tags/tag490.xml"/><Relationship Id="rId5" Type="http://schemas.openxmlformats.org/officeDocument/2006/relationships/tags" Target="../tags/tag489.xml"/><Relationship Id="rId4" Type="http://schemas.openxmlformats.org/officeDocument/2006/relationships/tags" Target="../tags/tag488.xml"/><Relationship Id="rId3" Type="http://schemas.openxmlformats.org/officeDocument/2006/relationships/tags" Target="../tags/tag487.xml"/><Relationship Id="rId2" Type="http://schemas.openxmlformats.org/officeDocument/2006/relationships/tags" Target="../tags/tag486.xml"/><Relationship Id="rId11" Type="http://schemas.openxmlformats.org/officeDocument/2006/relationships/notesSlide" Target="../notesSlides/notesSlide15.xml"/><Relationship Id="rId10" Type="http://schemas.openxmlformats.org/officeDocument/2006/relationships/slideLayout" Target="../slideLayouts/slideLayout33.xml"/><Relationship Id="rId1" Type="http://schemas.openxmlformats.org/officeDocument/2006/relationships/tags" Target="../tags/tag485.xml"/></Relationships>
</file>

<file path=ppt/slides/_rels/slide18.xml.rels><?xml version="1.0" encoding="UTF-8" standalone="yes"?>
<Relationships xmlns="http://schemas.openxmlformats.org/package/2006/relationships"><Relationship Id="rId9" Type="http://schemas.openxmlformats.org/officeDocument/2006/relationships/tags" Target="../tags/tag502.xml"/><Relationship Id="rId8" Type="http://schemas.openxmlformats.org/officeDocument/2006/relationships/tags" Target="../tags/tag501.xml"/><Relationship Id="rId7" Type="http://schemas.openxmlformats.org/officeDocument/2006/relationships/tags" Target="../tags/tag500.xml"/><Relationship Id="rId6" Type="http://schemas.openxmlformats.org/officeDocument/2006/relationships/tags" Target="../tags/tag499.xml"/><Relationship Id="rId5" Type="http://schemas.openxmlformats.org/officeDocument/2006/relationships/tags" Target="../tags/tag498.xml"/><Relationship Id="rId4" Type="http://schemas.openxmlformats.org/officeDocument/2006/relationships/tags" Target="../tags/tag497.xml"/><Relationship Id="rId3" Type="http://schemas.openxmlformats.org/officeDocument/2006/relationships/tags" Target="../tags/tag496.xml"/><Relationship Id="rId2" Type="http://schemas.openxmlformats.org/officeDocument/2006/relationships/tags" Target="../tags/tag495.xml"/><Relationship Id="rId11" Type="http://schemas.openxmlformats.org/officeDocument/2006/relationships/notesSlide" Target="../notesSlides/notesSlide16.xml"/><Relationship Id="rId10" Type="http://schemas.openxmlformats.org/officeDocument/2006/relationships/slideLayout" Target="../slideLayouts/slideLayout34.xml"/><Relationship Id="rId1" Type="http://schemas.openxmlformats.org/officeDocument/2006/relationships/tags" Target="../tags/tag494.xml"/></Relationships>
</file>

<file path=ppt/slides/_rels/slide19.xml.rels><?xml version="1.0" encoding="UTF-8" standalone="yes"?>
<Relationships xmlns="http://schemas.openxmlformats.org/package/2006/relationships"><Relationship Id="rId9" Type="http://schemas.openxmlformats.org/officeDocument/2006/relationships/tags" Target="../tags/tag511.xml"/><Relationship Id="rId8" Type="http://schemas.openxmlformats.org/officeDocument/2006/relationships/tags" Target="../tags/tag510.xml"/><Relationship Id="rId7" Type="http://schemas.openxmlformats.org/officeDocument/2006/relationships/tags" Target="../tags/tag509.xml"/><Relationship Id="rId6" Type="http://schemas.openxmlformats.org/officeDocument/2006/relationships/tags" Target="../tags/tag508.xml"/><Relationship Id="rId5" Type="http://schemas.openxmlformats.org/officeDocument/2006/relationships/tags" Target="../tags/tag507.xml"/><Relationship Id="rId4" Type="http://schemas.openxmlformats.org/officeDocument/2006/relationships/tags" Target="../tags/tag506.xml"/><Relationship Id="rId3" Type="http://schemas.openxmlformats.org/officeDocument/2006/relationships/tags" Target="../tags/tag505.xml"/><Relationship Id="rId2" Type="http://schemas.openxmlformats.org/officeDocument/2006/relationships/tags" Target="../tags/tag504.xml"/><Relationship Id="rId11" Type="http://schemas.openxmlformats.org/officeDocument/2006/relationships/notesSlide" Target="../notesSlides/notesSlide17.xml"/><Relationship Id="rId10" Type="http://schemas.openxmlformats.org/officeDocument/2006/relationships/slideLayout" Target="../slideLayouts/slideLayout35.xml"/><Relationship Id="rId1" Type="http://schemas.openxmlformats.org/officeDocument/2006/relationships/tags" Target="../tags/tag503.xml"/></Relationships>
</file>

<file path=ppt/slides/_rels/slide2.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tags" Target="../tags/tag74.xml"/><Relationship Id="rId4" Type="http://schemas.openxmlformats.org/officeDocument/2006/relationships/image" Target="../media/image3.png"/><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tags" Target="../tags/tag73.xml"/></Relationships>
</file>

<file path=ppt/slides/_rels/slide20.xml.rels><?xml version="1.0" encoding="UTF-8" standalone="yes"?>
<Relationships xmlns="http://schemas.openxmlformats.org/package/2006/relationships"><Relationship Id="rId9" Type="http://schemas.openxmlformats.org/officeDocument/2006/relationships/tags" Target="../tags/tag520.xml"/><Relationship Id="rId8" Type="http://schemas.openxmlformats.org/officeDocument/2006/relationships/tags" Target="../tags/tag519.xml"/><Relationship Id="rId7" Type="http://schemas.openxmlformats.org/officeDocument/2006/relationships/tags" Target="../tags/tag518.xml"/><Relationship Id="rId6" Type="http://schemas.openxmlformats.org/officeDocument/2006/relationships/tags" Target="../tags/tag517.xml"/><Relationship Id="rId5" Type="http://schemas.openxmlformats.org/officeDocument/2006/relationships/tags" Target="../tags/tag516.xml"/><Relationship Id="rId4" Type="http://schemas.openxmlformats.org/officeDocument/2006/relationships/tags" Target="../tags/tag515.xml"/><Relationship Id="rId33" Type="http://schemas.openxmlformats.org/officeDocument/2006/relationships/notesSlide" Target="../notesSlides/notesSlide18.xml"/><Relationship Id="rId32" Type="http://schemas.openxmlformats.org/officeDocument/2006/relationships/slideLayout" Target="../slideLayouts/slideLayout36.xml"/><Relationship Id="rId31" Type="http://schemas.openxmlformats.org/officeDocument/2006/relationships/tags" Target="../tags/tag542.xml"/><Relationship Id="rId30" Type="http://schemas.openxmlformats.org/officeDocument/2006/relationships/tags" Target="../tags/tag541.xml"/><Relationship Id="rId3" Type="http://schemas.openxmlformats.org/officeDocument/2006/relationships/tags" Target="../tags/tag514.xml"/><Relationship Id="rId29" Type="http://schemas.openxmlformats.org/officeDocument/2006/relationships/tags" Target="../tags/tag540.xml"/><Relationship Id="rId28" Type="http://schemas.openxmlformats.org/officeDocument/2006/relationships/tags" Target="../tags/tag539.xml"/><Relationship Id="rId27" Type="http://schemas.openxmlformats.org/officeDocument/2006/relationships/tags" Target="../tags/tag538.xml"/><Relationship Id="rId26" Type="http://schemas.openxmlformats.org/officeDocument/2006/relationships/tags" Target="../tags/tag537.xml"/><Relationship Id="rId25" Type="http://schemas.openxmlformats.org/officeDocument/2006/relationships/tags" Target="../tags/tag536.xml"/><Relationship Id="rId24" Type="http://schemas.openxmlformats.org/officeDocument/2006/relationships/tags" Target="../tags/tag535.xml"/><Relationship Id="rId23" Type="http://schemas.openxmlformats.org/officeDocument/2006/relationships/tags" Target="../tags/tag534.xml"/><Relationship Id="rId22" Type="http://schemas.openxmlformats.org/officeDocument/2006/relationships/tags" Target="../tags/tag533.xml"/><Relationship Id="rId21" Type="http://schemas.openxmlformats.org/officeDocument/2006/relationships/tags" Target="../tags/tag532.xml"/><Relationship Id="rId20" Type="http://schemas.openxmlformats.org/officeDocument/2006/relationships/tags" Target="../tags/tag531.xml"/><Relationship Id="rId2" Type="http://schemas.openxmlformats.org/officeDocument/2006/relationships/tags" Target="../tags/tag513.xml"/><Relationship Id="rId19" Type="http://schemas.openxmlformats.org/officeDocument/2006/relationships/tags" Target="../tags/tag530.xml"/><Relationship Id="rId18" Type="http://schemas.openxmlformats.org/officeDocument/2006/relationships/tags" Target="../tags/tag529.xml"/><Relationship Id="rId17" Type="http://schemas.openxmlformats.org/officeDocument/2006/relationships/tags" Target="../tags/tag528.xml"/><Relationship Id="rId16" Type="http://schemas.openxmlformats.org/officeDocument/2006/relationships/tags" Target="../tags/tag527.xml"/><Relationship Id="rId15" Type="http://schemas.openxmlformats.org/officeDocument/2006/relationships/tags" Target="../tags/tag526.xml"/><Relationship Id="rId14" Type="http://schemas.openxmlformats.org/officeDocument/2006/relationships/tags" Target="../tags/tag525.xml"/><Relationship Id="rId13" Type="http://schemas.openxmlformats.org/officeDocument/2006/relationships/tags" Target="../tags/tag524.xml"/><Relationship Id="rId12" Type="http://schemas.openxmlformats.org/officeDocument/2006/relationships/tags" Target="../tags/tag523.xml"/><Relationship Id="rId11" Type="http://schemas.openxmlformats.org/officeDocument/2006/relationships/tags" Target="../tags/tag522.xml"/><Relationship Id="rId10" Type="http://schemas.openxmlformats.org/officeDocument/2006/relationships/tags" Target="../tags/tag521.xml"/><Relationship Id="rId1" Type="http://schemas.openxmlformats.org/officeDocument/2006/relationships/tags" Target="../tags/tag512.xml"/></Relationships>
</file>

<file path=ppt/slides/_rels/slide21.xml.rels><?xml version="1.0" encoding="UTF-8" standalone="yes"?>
<Relationships xmlns="http://schemas.openxmlformats.org/package/2006/relationships"><Relationship Id="rId9" Type="http://schemas.openxmlformats.org/officeDocument/2006/relationships/tags" Target="../tags/tag551.xml"/><Relationship Id="rId8" Type="http://schemas.openxmlformats.org/officeDocument/2006/relationships/tags" Target="../tags/tag550.xml"/><Relationship Id="rId7" Type="http://schemas.openxmlformats.org/officeDocument/2006/relationships/tags" Target="../tags/tag549.xml"/><Relationship Id="rId6" Type="http://schemas.openxmlformats.org/officeDocument/2006/relationships/tags" Target="../tags/tag548.xml"/><Relationship Id="rId5" Type="http://schemas.openxmlformats.org/officeDocument/2006/relationships/tags" Target="../tags/tag547.xml"/><Relationship Id="rId4" Type="http://schemas.openxmlformats.org/officeDocument/2006/relationships/tags" Target="../tags/tag546.xml"/><Relationship Id="rId3" Type="http://schemas.openxmlformats.org/officeDocument/2006/relationships/tags" Target="../tags/tag545.xml"/><Relationship Id="rId2" Type="http://schemas.openxmlformats.org/officeDocument/2006/relationships/tags" Target="../tags/tag544.xml"/><Relationship Id="rId11" Type="http://schemas.openxmlformats.org/officeDocument/2006/relationships/notesSlide" Target="../notesSlides/notesSlide19.xml"/><Relationship Id="rId10" Type="http://schemas.openxmlformats.org/officeDocument/2006/relationships/slideLayout" Target="../slideLayouts/slideLayout37.xml"/><Relationship Id="rId1" Type="http://schemas.openxmlformats.org/officeDocument/2006/relationships/tags" Target="../tags/tag543.xml"/></Relationships>
</file>

<file path=ppt/slides/_rels/slide22.xml.rels><?xml version="1.0" encoding="UTF-8" standalone="yes"?>
<Relationships xmlns="http://schemas.openxmlformats.org/package/2006/relationships"><Relationship Id="rId9" Type="http://schemas.openxmlformats.org/officeDocument/2006/relationships/tags" Target="../tags/tag560.xml"/><Relationship Id="rId8" Type="http://schemas.openxmlformats.org/officeDocument/2006/relationships/tags" Target="../tags/tag559.xml"/><Relationship Id="rId7" Type="http://schemas.openxmlformats.org/officeDocument/2006/relationships/tags" Target="../tags/tag558.xml"/><Relationship Id="rId6" Type="http://schemas.openxmlformats.org/officeDocument/2006/relationships/tags" Target="../tags/tag557.xml"/><Relationship Id="rId5" Type="http://schemas.openxmlformats.org/officeDocument/2006/relationships/tags" Target="../tags/tag556.xml"/><Relationship Id="rId4" Type="http://schemas.openxmlformats.org/officeDocument/2006/relationships/tags" Target="../tags/tag555.xml"/><Relationship Id="rId35" Type="http://schemas.openxmlformats.org/officeDocument/2006/relationships/notesSlide" Target="../notesSlides/notesSlide20.xml"/><Relationship Id="rId34" Type="http://schemas.openxmlformats.org/officeDocument/2006/relationships/slideLayout" Target="../slideLayouts/slideLayout38.xml"/><Relationship Id="rId33" Type="http://schemas.openxmlformats.org/officeDocument/2006/relationships/tags" Target="../tags/tag584.xml"/><Relationship Id="rId32" Type="http://schemas.openxmlformats.org/officeDocument/2006/relationships/tags" Target="../tags/tag583.xml"/><Relationship Id="rId31" Type="http://schemas.openxmlformats.org/officeDocument/2006/relationships/tags" Target="../tags/tag582.xml"/><Relationship Id="rId30" Type="http://schemas.openxmlformats.org/officeDocument/2006/relationships/tags" Target="../tags/tag581.xml"/><Relationship Id="rId3" Type="http://schemas.openxmlformats.org/officeDocument/2006/relationships/tags" Target="../tags/tag554.xml"/><Relationship Id="rId29" Type="http://schemas.openxmlformats.org/officeDocument/2006/relationships/tags" Target="../tags/tag580.xml"/><Relationship Id="rId28" Type="http://schemas.openxmlformats.org/officeDocument/2006/relationships/tags" Target="../tags/tag579.xml"/><Relationship Id="rId27" Type="http://schemas.openxmlformats.org/officeDocument/2006/relationships/tags" Target="../tags/tag578.xml"/><Relationship Id="rId26" Type="http://schemas.openxmlformats.org/officeDocument/2006/relationships/tags" Target="../tags/tag577.xml"/><Relationship Id="rId25" Type="http://schemas.openxmlformats.org/officeDocument/2006/relationships/tags" Target="../tags/tag576.xml"/><Relationship Id="rId24" Type="http://schemas.openxmlformats.org/officeDocument/2006/relationships/tags" Target="../tags/tag575.xml"/><Relationship Id="rId23" Type="http://schemas.openxmlformats.org/officeDocument/2006/relationships/tags" Target="../tags/tag574.xml"/><Relationship Id="rId22" Type="http://schemas.openxmlformats.org/officeDocument/2006/relationships/tags" Target="../tags/tag573.xml"/><Relationship Id="rId21" Type="http://schemas.openxmlformats.org/officeDocument/2006/relationships/tags" Target="../tags/tag572.xml"/><Relationship Id="rId20" Type="http://schemas.openxmlformats.org/officeDocument/2006/relationships/tags" Target="../tags/tag571.xml"/><Relationship Id="rId2" Type="http://schemas.openxmlformats.org/officeDocument/2006/relationships/tags" Target="../tags/tag553.xml"/><Relationship Id="rId19" Type="http://schemas.openxmlformats.org/officeDocument/2006/relationships/tags" Target="../tags/tag570.xml"/><Relationship Id="rId18" Type="http://schemas.openxmlformats.org/officeDocument/2006/relationships/tags" Target="../tags/tag569.xml"/><Relationship Id="rId17" Type="http://schemas.openxmlformats.org/officeDocument/2006/relationships/tags" Target="../tags/tag568.xml"/><Relationship Id="rId16" Type="http://schemas.openxmlformats.org/officeDocument/2006/relationships/tags" Target="../tags/tag567.xml"/><Relationship Id="rId15" Type="http://schemas.openxmlformats.org/officeDocument/2006/relationships/tags" Target="../tags/tag566.xml"/><Relationship Id="rId14" Type="http://schemas.openxmlformats.org/officeDocument/2006/relationships/tags" Target="../tags/tag565.xml"/><Relationship Id="rId13" Type="http://schemas.openxmlformats.org/officeDocument/2006/relationships/tags" Target="../tags/tag564.xml"/><Relationship Id="rId12" Type="http://schemas.openxmlformats.org/officeDocument/2006/relationships/tags" Target="../tags/tag563.xml"/><Relationship Id="rId11" Type="http://schemas.openxmlformats.org/officeDocument/2006/relationships/tags" Target="../tags/tag562.xml"/><Relationship Id="rId10" Type="http://schemas.openxmlformats.org/officeDocument/2006/relationships/tags" Target="../tags/tag561.xml"/><Relationship Id="rId1" Type="http://schemas.openxmlformats.org/officeDocument/2006/relationships/tags" Target="../tags/tag552.xml"/></Relationships>
</file>

<file path=ppt/slides/_rels/slide23.xml.rels><?xml version="1.0" encoding="UTF-8" standalone="yes"?>
<Relationships xmlns="http://schemas.openxmlformats.org/package/2006/relationships"><Relationship Id="rId9" Type="http://schemas.openxmlformats.org/officeDocument/2006/relationships/tags" Target="../tags/tag593.xml"/><Relationship Id="rId8" Type="http://schemas.openxmlformats.org/officeDocument/2006/relationships/tags" Target="../tags/tag592.xml"/><Relationship Id="rId7" Type="http://schemas.openxmlformats.org/officeDocument/2006/relationships/tags" Target="../tags/tag591.xml"/><Relationship Id="rId6" Type="http://schemas.openxmlformats.org/officeDocument/2006/relationships/tags" Target="../tags/tag590.xml"/><Relationship Id="rId5" Type="http://schemas.openxmlformats.org/officeDocument/2006/relationships/tags" Target="../tags/tag589.xml"/><Relationship Id="rId4" Type="http://schemas.openxmlformats.org/officeDocument/2006/relationships/tags" Target="../tags/tag588.xml"/><Relationship Id="rId3" Type="http://schemas.openxmlformats.org/officeDocument/2006/relationships/tags" Target="../tags/tag587.xml"/><Relationship Id="rId2" Type="http://schemas.openxmlformats.org/officeDocument/2006/relationships/tags" Target="../tags/tag586.xml"/><Relationship Id="rId11" Type="http://schemas.openxmlformats.org/officeDocument/2006/relationships/notesSlide" Target="../notesSlides/notesSlide21.xml"/><Relationship Id="rId10" Type="http://schemas.openxmlformats.org/officeDocument/2006/relationships/slideLayout" Target="../slideLayouts/slideLayout39.xml"/><Relationship Id="rId1" Type="http://schemas.openxmlformats.org/officeDocument/2006/relationships/tags" Target="../tags/tag585.xml"/></Relationships>
</file>

<file path=ppt/slides/_rels/slide24.xml.rels><?xml version="1.0" encoding="UTF-8" standalone="yes"?>
<Relationships xmlns="http://schemas.openxmlformats.org/package/2006/relationships"><Relationship Id="rId9" Type="http://schemas.openxmlformats.org/officeDocument/2006/relationships/tags" Target="../tags/tag602.xml"/><Relationship Id="rId8" Type="http://schemas.openxmlformats.org/officeDocument/2006/relationships/tags" Target="../tags/tag601.xml"/><Relationship Id="rId7" Type="http://schemas.openxmlformats.org/officeDocument/2006/relationships/tags" Target="../tags/tag600.xml"/><Relationship Id="rId6" Type="http://schemas.openxmlformats.org/officeDocument/2006/relationships/tags" Target="../tags/tag599.xml"/><Relationship Id="rId5" Type="http://schemas.openxmlformats.org/officeDocument/2006/relationships/tags" Target="../tags/tag598.xml"/><Relationship Id="rId4" Type="http://schemas.openxmlformats.org/officeDocument/2006/relationships/tags" Target="../tags/tag597.xml"/><Relationship Id="rId3" Type="http://schemas.openxmlformats.org/officeDocument/2006/relationships/tags" Target="../tags/tag596.xml"/><Relationship Id="rId2" Type="http://schemas.openxmlformats.org/officeDocument/2006/relationships/tags" Target="../tags/tag595.xml"/><Relationship Id="rId11" Type="http://schemas.openxmlformats.org/officeDocument/2006/relationships/notesSlide" Target="../notesSlides/notesSlide22.xml"/><Relationship Id="rId10" Type="http://schemas.openxmlformats.org/officeDocument/2006/relationships/slideLayout" Target="../slideLayouts/slideLayout40.xml"/><Relationship Id="rId1" Type="http://schemas.openxmlformats.org/officeDocument/2006/relationships/tags" Target="../tags/tag594.xml"/></Relationships>
</file>

<file path=ppt/slides/_rels/slide25.xml.rels><?xml version="1.0" encoding="UTF-8" standalone="yes"?>
<Relationships xmlns="http://schemas.openxmlformats.org/package/2006/relationships"><Relationship Id="rId9" Type="http://schemas.openxmlformats.org/officeDocument/2006/relationships/tags" Target="../tags/tag611.xml"/><Relationship Id="rId8" Type="http://schemas.openxmlformats.org/officeDocument/2006/relationships/tags" Target="../tags/tag610.xml"/><Relationship Id="rId7" Type="http://schemas.openxmlformats.org/officeDocument/2006/relationships/tags" Target="../tags/tag609.xml"/><Relationship Id="rId6" Type="http://schemas.openxmlformats.org/officeDocument/2006/relationships/tags" Target="../tags/tag608.xml"/><Relationship Id="rId5" Type="http://schemas.openxmlformats.org/officeDocument/2006/relationships/tags" Target="../tags/tag607.xml"/><Relationship Id="rId4" Type="http://schemas.openxmlformats.org/officeDocument/2006/relationships/tags" Target="../tags/tag606.xml"/><Relationship Id="rId3" Type="http://schemas.openxmlformats.org/officeDocument/2006/relationships/tags" Target="../tags/tag605.xml"/><Relationship Id="rId2" Type="http://schemas.openxmlformats.org/officeDocument/2006/relationships/tags" Target="../tags/tag604.xml"/><Relationship Id="rId11" Type="http://schemas.openxmlformats.org/officeDocument/2006/relationships/notesSlide" Target="../notesSlides/notesSlide23.xml"/><Relationship Id="rId10" Type="http://schemas.openxmlformats.org/officeDocument/2006/relationships/slideLayout" Target="../slideLayouts/slideLayout41.xml"/><Relationship Id="rId1" Type="http://schemas.openxmlformats.org/officeDocument/2006/relationships/tags" Target="../tags/tag603.xml"/></Relationships>
</file>

<file path=ppt/slides/_rels/slide26.xml.rels><?xml version="1.0" encoding="UTF-8" standalone="yes"?>
<Relationships xmlns="http://schemas.openxmlformats.org/package/2006/relationships"><Relationship Id="rId9" Type="http://schemas.openxmlformats.org/officeDocument/2006/relationships/tags" Target="../tags/tag620.xml"/><Relationship Id="rId8" Type="http://schemas.openxmlformats.org/officeDocument/2006/relationships/tags" Target="../tags/tag619.xml"/><Relationship Id="rId7" Type="http://schemas.openxmlformats.org/officeDocument/2006/relationships/tags" Target="../tags/tag618.xml"/><Relationship Id="rId6" Type="http://schemas.openxmlformats.org/officeDocument/2006/relationships/tags" Target="../tags/tag617.xml"/><Relationship Id="rId5" Type="http://schemas.openxmlformats.org/officeDocument/2006/relationships/tags" Target="../tags/tag616.xml"/><Relationship Id="rId4" Type="http://schemas.openxmlformats.org/officeDocument/2006/relationships/tags" Target="../tags/tag615.xml"/><Relationship Id="rId3" Type="http://schemas.openxmlformats.org/officeDocument/2006/relationships/tags" Target="../tags/tag614.xml"/><Relationship Id="rId2" Type="http://schemas.openxmlformats.org/officeDocument/2006/relationships/tags" Target="../tags/tag613.xml"/><Relationship Id="rId11" Type="http://schemas.openxmlformats.org/officeDocument/2006/relationships/notesSlide" Target="../notesSlides/notesSlide24.xml"/><Relationship Id="rId10" Type="http://schemas.openxmlformats.org/officeDocument/2006/relationships/slideLayout" Target="../slideLayouts/slideLayout42.xml"/><Relationship Id="rId1" Type="http://schemas.openxmlformats.org/officeDocument/2006/relationships/tags" Target="../tags/tag612.xml"/></Relationships>
</file>

<file path=ppt/slides/_rels/slide27.xml.rels><?xml version="1.0" encoding="UTF-8" standalone="yes"?>
<Relationships xmlns="http://schemas.openxmlformats.org/package/2006/relationships"><Relationship Id="rId9" Type="http://schemas.openxmlformats.org/officeDocument/2006/relationships/tags" Target="../tags/tag629.xml"/><Relationship Id="rId8" Type="http://schemas.openxmlformats.org/officeDocument/2006/relationships/tags" Target="../tags/tag628.xml"/><Relationship Id="rId7" Type="http://schemas.openxmlformats.org/officeDocument/2006/relationships/tags" Target="../tags/tag627.xml"/><Relationship Id="rId6" Type="http://schemas.openxmlformats.org/officeDocument/2006/relationships/tags" Target="../tags/tag626.xml"/><Relationship Id="rId5" Type="http://schemas.openxmlformats.org/officeDocument/2006/relationships/tags" Target="../tags/tag625.xml"/><Relationship Id="rId4" Type="http://schemas.openxmlformats.org/officeDocument/2006/relationships/tags" Target="../tags/tag624.xml"/><Relationship Id="rId3" Type="http://schemas.openxmlformats.org/officeDocument/2006/relationships/tags" Target="../tags/tag623.xml"/><Relationship Id="rId2" Type="http://schemas.openxmlformats.org/officeDocument/2006/relationships/tags" Target="../tags/tag622.xml"/><Relationship Id="rId11" Type="http://schemas.openxmlformats.org/officeDocument/2006/relationships/notesSlide" Target="../notesSlides/notesSlide25.xml"/><Relationship Id="rId10" Type="http://schemas.openxmlformats.org/officeDocument/2006/relationships/slideLayout" Target="../slideLayouts/slideLayout43.xml"/><Relationship Id="rId1" Type="http://schemas.openxmlformats.org/officeDocument/2006/relationships/tags" Target="../tags/tag621.xml"/></Relationships>
</file>

<file path=ppt/slides/_rels/slide28.xml.rels><?xml version="1.0" encoding="UTF-8" standalone="yes"?>
<Relationships xmlns="http://schemas.openxmlformats.org/package/2006/relationships"><Relationship Id="rId9" Type="http://schemas.openxmlformats.org/officeDocument/2006/relationships/tags" Target="../tags/tag638.xml"/><Relationship Id="rId8" Type="http://schemas.openxmlformats.org/officeDocument/2006/relationships/tags" Target="../tags/tag637.xml"/><Relationship Id="rId7" Type="http://schemas.openxmlformats.org/officeDocument/2006/relationships/tags" Target="../tags/tag636.xml"/><Relationship Id="rId6" Type="http://schemas.openxmlformats.org/officeDocument/2006/relationships/tags" Target="../tags/tag635.xml"/><Relationship Id="rId5" Type="http://schemas.openxmlformats.org/officeDocument/2006/relationships/tags" Target="../tags/tag634.xml"/><Relationship Id="rId4" Type="http://schemas.openxmlformats.org/officeDocument/2006/relationships/tags" Target="../tags/tag633.xml"/><Relationship Id="rId3" Type="http://schemas.openxmlformats.org/officeDocument/2006/relationships/tags" Target="../tags/tag632.xml"/><Relationship Id="rId23" Type="http://schemas.openxmlformats.org/officeDocument/2006/relationships/notesSlide" Target="../notesSlides/notesSlide26.xml"/><Relationship Id="rId22" Type="http://schemas.openxmlformats.org/officeDocument/2006/relationships/slideLayout" Target="../slideLayouts/slideLayout44.xml"/><Relationship Id="rId21" Type="http://schemas.openxmlformats.org/officeDocument/2006/relationships/tags" Target="../tags/tag650.xml"/><Relationship Id="rId20" Type="http://schemas.openxmlformats.org/officeDocument/2006/relationships/tags" Target="../tags/tag649.xml"/><Relationship Id="rId2" Type="http://schemas.openxmlformats.org/officeDocument/2006/relationships/tags" Target="../tags/tag631.xml"/><Relationship Id="rId19" Type="http://schemas.openxmlformats.org/officeDocument/2006/relationships/tags" Target="../tags/tag648.xml"/><Relationship Id="rId18" Type="http://schemas.openxmlformats.org/officeDocument/2006/relationships/tags" Target="../tags/tag647.xml"/><Relationship Id="rId17" Type="http://schemas.openxmlformats.org/officeDocument/2006/relationships/tags" Target="../tags/tag646.xml"/><Relationship Id="rId16" Type="http://schemas.openxmlformats.org/officeDocument/2006/relationships/tags" Target="../tags/tag645.xml"/><Relationship Id="rId15" Type="http://schemas.openxmlformats.org/officeDocument/2006/relationships/tags" Target="../tags/tag644.xml"/><Relationship Id="rId14" Type="http://schemas.openxmlformats.org/officeDocument/2006/relationships/tags" Target="../tags/tag643.xml"/><Relationship Id="rId13" Type="http://schemas.openxmlformats.org/officeDocument/2006/relationships/tags" Target="../tags/tag642.xml"/><Relationship Id="rId12" Type="http://schemas.openxmlformats.org/officeDocument/2006/relationships/tags" Target="../tags/tag641.xml"/><Relationship Id="rId11" Type="http://schemas.openxmlformats.org/officeDocument/2006/relationships/tags" Target="../tags/tag640.xml"/><Relationship Id="rId10" Type="http://schemas.openxmlformats.org/officeDocument/2006/relationships/tags" Target="../tags/tag639.xml"/><Relationship Id="rId1" Type="http://schemas.openxmlformats.org/officeDocument/2006/relationships/tags" Target="../tags/tag630.xml"/></Relationships>
</file>

<file path=ppt/slides/_rels/slide29.xml.rels><?xml version="1.0" encoding="UTF-8" standalone="yes"?>
<Relationships xmlns="http://schemas.openxmlformats.org/package/2006/relationships"><Relationship Id="rId9" Type="http://schemas.openxmlformats.org/officeDocument/2006/relationships/tags" Target="../tags/tag659.xml"/><Relationship Id="rId8" Type="http://schemas.openxmlformats.org/officeDocument/2006/relationships/tags" Target="../tags/tag658.xml"/><Relationship Id="rId7" Type="http://schemas.openxmlformats.org/officeDocument/2006/relationships/tags" Target="../tags/tag657.xml"/><Relationship Id="rId6" Type="http://schemas.openxmlformats.org/officeDocument/2006/relationships/tags" Target="../tags/tag656.xml"/><Relationship Id="rId5" Type="http://schemas.openxmlformats.org/officeDocument/2006/relationships/tags" Target="../tags/tag655.xml"/><Relationship Id="rId4" Type="http://schemas.openxmlformats.org/officeDocument/2006/relationships/tags" Target="../tags/tag654.xml"/><Relationship Id="rId3" Type="http://schemas.openxmlformats.org/officeDocument/2006/relationships/tags" Target="../tags/tag653.xml"/><Relationship Id="rId2" Type="http://schemas.openxmlformats.org/officeDocument/2006/relationships/tags" Target="../tags/tag652.xml"/><Relationship Id="rId11" Type="http://schemas.openxmlformats.org/officeDocument/2006/relationships/notesSlide" Target="../notesSlides/notesSlide27.xml"/><Relationship Id="rId10" Type="http://schemas.openxmlformats.org/officeDocument/2006/relationships/slideLayout" Target="../slideLayouts/slideLayout45.xml"/><Relationship Id="rId1" Type="http://schemas.openxmlformats.org/officeDocument/2006/relationships/tags" Target="../tags/tag651.xml"/></Relationships>
</file>

<file path=ppt/slides/_rels/slide3.xml.rels><?xml version="1.0" encoding="UTF-8" standalone="yes"?>
<Relationships xmlns="http://schemas.openxmlformats.org/package/2006/relationships"><Relationship Id="rId9" Type="http://schemas.openxmlformats.org/officeDocument/2006/relationships/tags" Target="../tags/tag83.xml"/><Relationship Id="rId8" Type="http://schemas.openxmlformats.org/officeDocument/2006/relationships/tags" Target="../tags/tag82.xml"/><Relationship Id="rId7" Type="http://schemas.openxmlformats.org/officeDocument/2006/relationships/tags" Target="../tags/tag81.xml"/><Relationship Id="rId6" Type="http://schemas.openxmlformats.org/officeDocument/2006/relationships/tags" Target="../tags/tag80.xml"/><Relationship Id="rId5" Type="http://schemas.openxmlformats.org/officeDocument/2006/relationships/tags" Target="../tags/tag79.xml"/><Relationship Id="rId45" Type="http://schemas.openxmlformats.org/officeDocument/2006/relationships/notesSlide" Target="../notesSlides/notesSlide1.xml"/><Relationship Id="rId44" Type="http://schemas.openxmlformats.org/officeDocument/2006/relationships/slideLayout" Target="../slideLayouts/slideLayout19.xml"/><Relationship Id="rId43" Type="http://schemas.openxmlformats.org/officeDocument/2006/relationships/tags" Target="../tags/tag117.xml"/><Relationship Id="rId42" Type="http://schemas.openxmlformats.org/officeDocument/2006/relationships/tags" Target="../tags/tag116.xml"/><Relationship Id="rId41" Type="http://schemas.openxmlformats.org/officeDocument/2006/relationships/tags" Target="../tags/tag115.xml"/><Relationship Id="rId40" Type="http://schemas.openxmlformats.org/officeDocument/2006/relationships/tags" Target="../tags/tag114.xml"/><Relationship Id="rId4" Type="http://schemas.openxmlformats.org/officeDocument/2006/relationships/tags" Target="../tags/tag78.xml"/><Relationship Id="rId39" Type="http://schemas.openxmlformats.org/officeDocument/2006/relationships/tags" Target="../tags/tag113.xml"/><Relationship Id="rId38" Type="http://schemas.openxmlformats.org/officeDocument/2006/relationships/tags" Target="../tags/tag112.xml"/><Relationship Id="rId37" Type="http://schemas.openxmlformats.org/officeDocument/2006/relationships/tags" Target="../tags/tag111.xml"/><Relationship Id="rId36" Type="http://schemas.openxmlformats.org/officeDocument/2006/relationships/tags" Target="../tags/tag110.xml"/><Relationship Id="rId35" Type="http://schemas.openxmlformats.org/officeDocument/2006/relationships/tags" Target="../tags/tag109.xml"/><Relationship Id="rId34" Type="http://schemas.openxmlformats.org/officeDocument/2006/relationships/tags" Target="../tags/tag108.xml"/><Relationship Id="rId33" Type="http://schemas.openxmlformats.org/officeDocument/2006/relationships/tags" Target="../tags/tag107.xml"/><Relationship Id="rId32" Type="http://schemas.openxmlformats.org/officeDocument/2006/relationships/tags" Target="../tags/tag106.xml"/><Relationship Id="rId31" Type="http://schemas.openxmlformats.org/officeDocument/2006/relationships/tags" Target="../tags/tag105.xml"/><Relationship Id="rId30" Type="http://schemas.openxmlformats.org/officeDocument/2006/relationships/tags" Target="../tags/tag104.xml"/><Relationship Id="rId3" Type="http://schemas.openxmlformats.org/officeDocument/2006/relationships/tags" Target="../tags/tag77.xml"/><Relationship Id="rId29" Type="http://schemas.openxmlformats.org/officeDocument/2006/relationships/tags" Target="../tags/tag103.xml"/><Relationship Id="rId28" Type="http://schemas.openxmlformats.org/officeDocument/2006/relationships/tags" Target="../tags/tag102.xml"/><Relationship Id="rId27" Type="http://schemas.openxmlformats.org/officeDocument/2006/relationships/tags" Target="../tags/tag101.xml"/><Relationship Id="rId26" Type="http://schemas.openxmlformats.org/officeDocument/2006/relationships/tags" Target="../tags/tag100.xml"/><Relationship Id="rId25" Type="http://schemas.openxmlformats.org/officeDocument/2006/relationships/tags" Target="../tags/tag99.xml"/><Relationship Id="rId24" Type="http://schemas.openxmlformats.org/officeDocument/2006/relationships/tags" Target="../tags/tag98.xml"/><Relationship Id="rId23" Type="http://schemas.openxmlformats.org/officeDocument/2006/relationships/tags" Target="../tags/tag97.xml"/><Relationship Id="rId22" Type="http://schemas.openxmlformats.org/officeDocument/2006/relationships/tags" Target="../tags/tag96.xml"/><Relationship Id="rId21" Type="http://schemas.openxmlformats.org/officeDocument/2006/relationships/tags" Target="../tags/tag95.xml"/><Relationship Id="rId20" Type="http://schemas.openxmlformats.org/officeDocument/2006/relationships/tags" Target="../tags/tag94.xml"/><Relationship Id="rId2" Type="http://schemas.openxmlformats.org/officeDocument/2006/relationships/tags" Target="../tags/tag76.xml"/><Relationship Id="rId19" Type="http://schemas.openxmlformats.org/officeDocument/2006/relationships/tags" Target="../tags/tag93.xml"/><Relationship Id="rId18" Type="http://schemas.openxmlformats.org/officeDocument/2006/relationships/tags" Target="../tags/tag92.xml"/><Relationship Id="rId17" Type="http://schemas.openxmlformats.org/officeDocument/2006/relationships/tags" Target="../tags/tag91.xml"/><Relationship Id="rId16" Type="http://schemas.openxmlformats.org/officeDocument/2006/relationships/tags" Target="../tags/tag90.xml"/><Relationship Id="rId15" Type="http://schemas.openxmlformats.org/officeDocument/2006/relationships/tags" Target="../tags/tag89.xml"/><Relationship Id="rId14" Type="http://schemas.openxmlformats.org/officeDocument/2006/relationships/tags" Target="../tags/tag88.xml"/><Relationship Id="rId13" Type="http://schemas.openxmlformats.org/officeDocument/2006/relationships/tags" Target="../tags/tag87.xml"/><Relationship Id="rId12" Type="http://schemas.openxmlformats.org/officeDocument/2006/relationships/tags" Target="../tags/tag86.xml"/><Relationship Id="rId11" Type="http://schemas.openxmlformats.org/officeDocument/2006/relationships/tags" Target="../tags/tag85.xml"/><Relationship Id="rId10" Type="http://schemas.openxmlformats.org/officeDocument/2006/relationships/tags" Target="../tags/tag84.xml"/><Relationship Id="rId1" Type="http://schemas.openxmlformats.org/officeDocument/2006/relationships/tags" Target="../tags/tag75.xml"/></Relationships>
</file>

<file path=ppt/slides/_rels/slide30.xml.rels><?xml version="1.0" encoding="UTF-8" standalone="yes"?>
<Relationships xmlns="http://schemas.openxmlformats.org/package/2006/relationships"><Relationship Id="rId9" Type="http://schemas.openxmlformats.org/officeDocument/2006/relationships/tags" Target="../tags/tag668.xml"/><Relationship Id="rId8" Type="http://schemas.openxmlformats.org/officeDocument/2006/relationships/tags" Target="../tags/tag667.xml"/><Relationship Id="rId7" Type="http://schemas.openxmlformats.org/officeDocument/2006/relationships/tags" Target="../tags/tag666.xml"/><Relationship Id="rId6" Type="http://schemas.openxmlformats.org/officeDocument/2006/relationships/tags" Target="../tags/tag665.xml"/><Relationship Id="rId5" Type="http://schemas.openxmlformats.org/officeDocument/2006/relationships/tags" Target="../tags/tag664.xml"/><Relationship Id="rId4" Type="http://schemas.openxmlformats.org/officeDocument/2006/relationships/tags" Target="../tags/tag663.xml"/><Relationship Id="rId3" Type="http://schemas.openxmlformats.org/officeDocument/2006/relationships/tags" Target="../tags/tag662.xml"/><Relationship Id="rId2" Type="http://schemas.openxmlformats.org/officeDocument/2006/relationships/tags" Target="../tags/tag661.xml"/><Relationship Id="rId11" Type="http://schemas.openxmlformats.org/officeDocument/2006/relationships/notesSlide" Target="../notesSlides/notesSlide28.xml"/><Relationship Id="rId10" Type="http://schemas.openxmlformats.org/officeDocument/2006/relationships/slideLayout" Target="../slideLayouts/slideLayout46.xml"/><Relationship Id="rId1" Type="http://schemas.openxmlformats.org/officeDocument/2006/relationships/tags" Target="../tags/tag660.xml"/></Relationships>
</file>

<file path=ppt/slides/_rels/slide31.xml.rels><?xml version="1.0" encoding="UTF-8" standalone="yes"?>
<Relationships xmlns="http://schemas.openxmlformats.org/package/2006/relationships"><Relationship Id="rId9" Type="http://schemas.openxmlformats.org/officeDocument/2006/relationships/tags" Target="../tags/tag677.xml"/><Relationship Id="rId8" Type="http://schemas.openxmlformats.org/officeDocument/2006/relationships/tags" Target="../tags/tag676.xml"/><Relationship Id="rId7" Type="http://schemas.openxmlformats.org/officeDocument/2006/relationships/tags" Target="../tags/tag675.xml"/><Relationship Id="rId6" Type="http://schemas.openxmlformats.org/officeDocument/2006/relationships/tags" Target="../tags/tag674.xml"/><Relationship Id="rId53" Type="http://schemas.openxmlformats.org/officeDocument/2006/relationships/notesSlide" Target="../notesSlides/notesSlide29.xml"/><Relationship Id="rId52" Type="http://schemas.openxmlformats.org/officeDocument/2006/relationships/slideLayout" Target="../slideLayouts/slideLayout47.xml"/><Relationship Id="rId51" Type="http://schemas.openxmlformats.org/officeDocument/2006/relationships/tags" Target="../tags/tag719.xml"/><Relationship Id="rId50" Type="http://schemas.openxmlformats.org/officeDocument/2006/relationships/tags" Target="../tags/tag718.xml"/><Relationship Id="rId5" Type="http://schemas.openxmlformats.org/officeDocument/2006/relationships/tags" Target="../tags/tag673.xml"/><Relationship Id="rId49" Type="http://schemas.openxmlformats.org/officeDocument/2006/relationships/tags" Target="../tags/tag717.xml"/><Relationship Id="rId48" Type="http://schemas.openxmlformats.org/officeDocument/2006/relationships/tags" Target="../tags/tag716.xml"/><Relationship Id="rId47" Type="http://schemas.openxmlformats.org/officeDocument/2006/relationships/tags" Target="../tags/tag715.xml"/><Relationship Id="rId46" Type="http://schemas.openxmlformats.org/officeDocument/2006/relationships/tags" Target="../tags/tag714.xml"/><Relationship Id="rId45" Type="http://schemas.openxmlformats.org/officeDocument/2006/relationships/tags" Target="../tags/tag713.xml"/><Relationship Id="rId44" Type="http://schemas.openxmlformats.org/officeDocument/2006/relationships/tags" Target="../tags/tag712.xml"/><Relationship Id="rId43" Type="http://schemas.openxmlformats.org/officeDocument/2006/relationships/tags" Target="../tags/tag711.xml"/><Relationship Id="rId42" Type="http://schemas.openxmlformats.org/officeDocument/2006/relationships/tags" Target="../tags/tag710.xml"/><Relationship Id="rId41" Type="http://schemas.openxmlformats.org/officeDocument/2006/relationships/tags" Target="../tags/tag709.xml"/><Relationship Id="rId40" Type="http://schemas.openxmlformats.org/officeDocument/2006/relationships/tags" Target="../tags/tag708.xml"/><Relationship Id="rId4" Type="http://schemas.openxmlformats.org/officeDocument/2006/relationships/tags" Target="../tags/tag672.xml"/><Relationship Id="rId39" Type="http://schemas.openxmlformats.org/officeDocument/2006/relationships/tags" Target="../tags/tag707.xml"/><Relationship Id="rId38" Type="http://schemas.openxmlformats.org/officeDocument/2006/relationships/tags" Target="../tags/tag706.xml"/><Relationship Id="rId37" Type="http://schemas.openxmlformats.org/officeDocument/2006/relationships/tags" Target="../tags/tag705.xml"/><Relationship Id="rId36" Type="http://schemas.openxmlformats.org/officeDocument/2006/relationships/tags" Target="../tags/tag704.xml"/><Relationship Id="rId35" Type="http://schemas.openxmlformats.org/officeDocument/2006/relationships/tags" Target="../tags/tag703.xml"/><Relationship Id="rId34" Type="http://schemas.openxmlformats.org/officeDocument/2006/relationships/tags" Target="../tags/tag702.xml"/><Relationship Id="rId33" Type="http://schemas.openxmlformats.org/officeDocument/2006/relationships/tags" Target="../tags/tag701.xml"/><Relationship Id="rId32" Type="http://schemas.openxmlformats.org/officeDocument/2006/relationships/tags" Target="../tags/tag700.xml"/><Relationship Id="rId31" Type="http://schemas.openxmlformats.org/officeDocument/2006/relationships/tags" Target="../tags/tag699.xml"/><Relationship Id="rId30" Type="http://schemas.openxmlformats.org/officeDocument/2006/relationships/tags" Target="../tags/tag698.xml"/><Relationship Id="rId3" Type="http://schemas.openxmlformats.org/officeDocument/2006/relationships/tags" Target="../tags/tag671.xml"/><Relationship Id="rId29" Type="http://schemas.openxmlformats.org/officeDocument/2006/relationships/tags" Target="../tags/tag697.xml"/><Relationship Id="rId28" Type="http://schemas.openxmlformats.org/officeDocument/2006/relationships/tags" Target="../tags/tag696.xml"/><Relationship Id="rId27" Type="http://schemas.openxmlformats.org/officeDocument/2006/relationships/tags" Target="../tags/tag695.xml"/><Relationship Id="rId26" Type="http://schemas.openxmlformats.org/officeDocument/2006/relationships/tags" Target="../tags/tag694.xml"/><Relationship Id="rId25" Type="http://schemas.openxmlformats.org/officeDocument/2006/relationships/tags" Target="../tags/tag693.xml"/><Relationship Id="rId24" Type="http://schemas.openxmlformats.org/officeDocument/2006/relationships/tags" Target="../tags/tag692.xml"/><Relationship Id="rId23" Type="http://schemas.openxmlformats.org/officeDocument/2006/relationships/tags" Target="../tags/tag691.xml"/><Relationship Id="rId22" Type="http://schemas.openxmlformats.org/officeDocument/2006/relationships/tags" Target="../tags/tag690.xml"/><Relationship Id="rId21" Type="http://schemas.openxmlformats.org/officeDocument/2006/relationships/tags" Target="../tags/tag689.xml"/><Relationship Id="rId20" Type="http://schemas.openxmlformats.org/officeDocument/2006/relationships/tags" Target="../tags/tag688.xml"/><Relationship Id="rId2" Type="http://schemas.openxmlformats.org/officeDocument/2006/relationships/tags" Target="../tags/tag670.xml"/><Relationship Id="rId19" Type="http://schemas.openxmlformats.org/officeDocument/2006/relationships/tags" Target="../tags/tag687.xml"/><Relationship Id="rId18" Type="http://schemas.openxmlformats.org/officeDocument/2006/relationships/tags" Target="../tags/tag686.xml"/><Relationship Id="rId17" Type="http://schemas.openxmlformats.org/officeDocument/2006/relationships/tags" Target="../tags/tag685.xml"/><Relationship Id="rId16" Type="http://schemas.openxmlformats.org/officeDocument/2006/relationships/tags" Target="../tags/tag684.xml"/><Relationship Id="rId15" Type="http://schemas.openxmlformats.org/officeDocument/2006/relationships/tags" Target="../tags/tag683.xml"/><Relationship Id="rId14" Type="http://schemas.openxmlformats.org/officeDocument/2006/relationships/tags" Target="../tags/tag682.xml"/><Relationship Id="rId13" Type="http://schemas.openxmlformats.org/officeDocument/2006/relationships/tags" Target="../tags/tag681.xml"/><Relationship Id="rId12" Type="http://schemas.openxmlformats.org/officeDocument/2006/relationships/tags" Target="../tags/tag680.xml"/><Relationship Id="rId11" Type="http://schemas.openxmlformats.org/officeDocument/2006/relationships/tags" Target="../tags/tag679.xml"/><Relationship Id="rId10" Type="http://schemas.openxmlformats.org/officeDocument/2006/relationships/tags" Target="../tags/tag678.xml"/><Relationship Id="rId1" Type="http://schemas.openxmlformats.org/officeDocument/2006/relationships/tags" Target="../tags/tag669.xml"/></Relationships>
</file>

<file path=ppt/slides/_rels/slide32.xml.rels><?xml version="1.0" encoding="UTF-8" standalone="yes"?>
<Relationships xmlns="http://schemas.openxmlformats.org/package/2006/relationships"><Relationship Id="rId9" Type="http://schemas.openxmlformats.org/officeDocument/2006/relationships/tags" Target="../tags/tag728.xml"/><Relationship Id="rId8" Type="http://schemas.openxmlformats.org/officeDocument/2006/relationships/tags" Target="../tags/tag727.xml"/><Relationship Id="rId7" Type="http://schemas.openxmlformats.org/officeDocument/2006/relationships/tags" Target="../tags/tag726.xml"/><Relationship Id="rId6" Type="http://schemas.openxmlformats.org/officeDocument/2006/relationships/tags" Target="../tags/tag725.xml"/><Relationship Id="rId5" Type="http://schemas.openxmlformats.org/officeDocument/2006/relationships/tags" Target="../tags/tag724.xml"/><Relationship Id="rId4" Type="http://schemas.openxmlformats.org/officeDocument/2006/relationships/tags" Target="../tags/tag723.xml"/><Relationship Id="rId3" Type="http://schemas.openxmlformats.org/officeDocument/2006/relationships/tags" Target="../tags/tag722.xml"/><Relationship Id="rId2" Type="http://schemas.openxmlformats.org/officeDocument/2006/relationships/tags" Target="../tags/tag721.xml"/><Relationship Id="rId11" Type="http://schemas.openxmlformats.org/officeDocument/2006/relationships/notesSlide" Target="../notesSlides/notesSlide30.xml"/><Relationship Id="rId10" Type="http://schemas.openxmlformats.org/officeDocument/2006/relationships/slideLayout" Target="../slideLayouts/slideLayout48.xml"/><Relationship Id="rId1" Type="http://schemas.openxmlformats.org/officeDocument/2006/relationships/tags" Target="../tags/tag720.xml"/></Relationships>
</file>

<file path=ppt/slides/_rels/slide33.xml.rels><?xml version="1.0" encoding="UTF-8" standalone="yes"?>
<Relationships xmlns="http://schemas.openxmlformats.org/package/2006/relationships"><Relationship Id="rId9" Type="http://schemas.openxmlformats.org/officeDocument/2006/relationships/tags" Target="../tags/tag737.xml"/><Relationship Id="rId8" Type="http://schemas.openxmlformats.org/officeDocument/2006/relationships/tags" Target="../tags/tag736.xml"/><Relationship Id="rId7" Type="http://schemas.openxmlformats.org/officeDocument/2006/relationships/tags" Target="../tags/tag735.xml"/><Relationship Id="rId6" Type="http://schemas.openxmlformats.org/officeDocument/2006/relationships/tags" Target="../tags/tag734.xml"/><Relationship Id="rId5" Type="http://schemas.openxmlformats.org/officeDocument/2006/relationships/tags" Target="../tags/tag733.xml"/><Relationship Id="rId4" Type="http://schemas.openxmlformats.org/officeDocument/2006/relationships/tags" Target="../tags/tag732.xml"/><Relationship Id="rId3" Type="http://schemas.openxmlformats.org/officeDocument/2006/relationships/tags" Target="../tags/tag731.xml"/><Relationship Id="rId2" Type="http://schemas.openxmlformats.org/officeDocument/2006/relationships/tags" Target="../tags/tag730.xml"/><Relationship Id="rId11" Type="http://schemas.openxmlformats.org/officeDocument/2006/relationships/notesSlide" Target="../notesSlides/notesSlide31.xml"/><Relationship Id="rId10" Type="http://schemas.openxmlformats.org/officeDocument/2006/relationships/slideLayout" Target="../slideLayouts/slideLayout49.xml"/><Relationship Id="rId1" Type="http://schemas.openxmlformats.org/officeDocument/2006/relationships/tags" Target="../tags/tag729.xml"/></Relationships>
</file>

<file path=ppt/slides/_rels/slide34.xml.rels><?xml version="1.0" encoding="UTF-8" standalone="yes"?>
<Relationships xmlns="http://schemas.openxmlformats.org/package/2006/relationships"><Relationship Id="rId9" Type="http://schemas.openxmlformats.org/officeDocument/2006/relationships/tags" Target="../tags/tag746.xml"/><Relationship Id="rId8" Type="http://schemas.openxmlformats.org/officeDocument/2006/relationships/tags" Target="../tags/tag745.xml"/><Relationship Id="rId7" Type="http://schemas.openxmlformats.org/officeDocument/2006/relationships/tags" Target="../tags/tag744.xml"/><Relationship Id="rId6" Type="http://schemas.openxmlformats.org/officeDocument/2006/relationships/tags" Target="../tags/tag743.xml"/><Relationship Id="rId5" Type="http://schemas.openxmlformats.org/officeDocument/2006/relationships/tags" Target="../tags/tag742.xml"/><Relationship Id="rId4" Type="http://schemas.openxmlformats.org/officeDocument/2006/relationships/tags" Target="../tags/tag741.xml"/><Relationship Id="rId3" Type="http://schemas.openxmlformats.org/officeDocument/2006/relationships/tags" Target="../tags/tag740.xml"/><Relationship Id="rId2" Type="http://schemas.openxmlformats.org/officeDocument/2006/relationships/tags" Target="../tags/tag739.xml"/><Relationship Id="rId11" Type="http://schemas.openxmlformats.org/officeDocument/2006/relationships/notesSlide" Target="../notesSlides/notesSlide32.xml"/><Relationship Id="rId10" Type="http://schemas.openxmlformats.org/officeDocument/2006/relationships/slideLayout" Target="../slideLayouts/slideLayout50.xml"/><Relationship Id="rId1" Type="http://schemas.openxmlformats.org/officeDocument/2006/relationships/tags" Target="../tags/tag738.xml"/></Relationships>
</file>

<file path=ppt/slides/_rels/slide35.xml.rels><?xml version="1.0" encoding="UTF-8" standalone="yes"?>
<Relationships xmlns="http://schemas.openxmlformats.org/package/2006/relationships"><Relationship Id="rId9" Type="http://schemas.openxmlformats.org/officeDocument/2006/relationships/tags" Target="../tags/tag755.xml"/><Relationship Id="rId8" Type="http://schemas.openxmlformats.org/officeDocument/2006/relationships/tags" Target="../tags/tag754.xml"/><Relationship Id="rId7" Type="http://schemas.openxmlformats.org/officeDocument/2006/relationships/tags" Target="../tags/tag753.xml"/><Relationship Id="rId6" Type="http://schemas.openxmlformats.org/officeDocument/2006/relationships/tags" Target="../tags/tag752.xml"/><Relationship Id="rId5" Type="http://schemas.openxmlformats.org/officeDocument/2006/relationships/tags" Target="../tags/tag751.xml"/><Relationship Id="rId4" Type="http://schemas.openxmlformats.org/officeDocument/2006/relationships/tags" Target="../tags/tag750.xml"/><Relationship Id="rId3" Type="http://schemas.openxmlformats.org/officeDocument/2006/relationships/tags" Target="../tags/tag749.xml"/><Relationship Id="rId2" Type="http://schemas.openxmlformats.org/officeDocument/2006/relationships/tags" Target="../tags/tag748.xml"/><Relationship Id="rId11" Type="http://schemas.openxmlformats.org/officeDocument/2006/relationships/notesSlide" Target="../notesSlides/notesSlide33.xml"/><Relationship Id="rId10" Type="http://schemas.openxmlformats.org/officeDocument/2006/relationships/slideLayout" Target="../slideLayouts/slideLayout51.xml"/><Relationship Id="rId1" Type="http://schemas.openxmlformats.org/officeDocument/2006/relationships/tags" Target="../tags/tag747.xml"/></Relationships>
</file>

<file path=ppt/slides/_rels/slide36.xml.rels><?xml version="1.0" encoding="UTF-8" standalone="yes"?>
<Relationships xmlns="http://schemas.openxmlformats.org/package/2006/relationships"><Relationship Id="rId9" Type="http://schemas.openxmlformats.org/officeDocument/2006/relationships/tags" Target="../tags/tag764.xml"/><Relationship Id="rId8" Type="http://schemas.openxmlformats.org/officeDocument/2006/relationships/tags" Target="../tags/tag763.xml"/><Relationship Id="rId7" Type="http://schemas.openxmlformats.org/officeDocument/2006/relationships/tags" Target="../tags/tag762.xml"/><Relationship Id="rId6" Type="http://schemas.openxmlformats.org/officeDocument/2006/relationships/tags" Target="../tags/tag761.xml"/><Relationship Id="rId5" Type="http://schemas.openxmlformats.org/officeDocument/2006/relationships/tags" Target="../tags/tag760.xml"/><Relationship Id="rId4" Type="http://schemas.openxmlformats.org/officeDocument/2006/relationships/tags" Target="../tags/tag759.xml"/><Relationship Id="rId3" Type="http://schemas.openxmlformats.org/officeDocument/2006/relationships/tags" Target="../tags/tag758.xml"/><Relationship Id="rId2" Type="http://schemas.openxmlformats.org/officeDocument/2006/relationships/tags" Target="../tags/tag757.xml"/><Relationship Id="rId11" Type="http://schemas.openxmlformats.org/officeDocument/2006/relationships/notesSlide" Target="../notesSlides/notesSlide34.xml"/><Relationship Id="rId10" Type="http://schemas.openxmlformats.org/officeDocument/2006/relationships/slideLayout" Target="../slideLayouts/slideLayout52.xml"/><Relationship Id="rId1" Type="http://schemas.openxmlformats.org/officeDocument/2006/relationships/tags" Target="../tags/tag756.xml"/></Relationships>
</file>

<file path=ppt/slides/_rels/slide37.xml.rels><?xml version="1.0" encoding="UTF-8" standalone="yes"?>
<Relationships xmlns="http://schemas.openxmlformats.org/package/2006/relationships"><Relationship Id="rId9" Type="http://schemas.openxmlformats.org/officeDocument/2006/relationships/tags" Target="../tags/tag773.xml"/><Relationship Id="rId8" Type="http://schemas.openxmlformats.org/officeDocument/2006/relationships/tags" Target="../tags/tag772.xml"/><Relationship Id="rId7" Type="http://schemas.openxmlformats.org/officeDocument/2006/relationships/tags" Target="../tags/tag771.xml"/><Relationship Id="rId6" Type="http://schemas.openxmlformats.org/officeDocument/2006/relationships/tags" Target="../tags/tag770.xml"/><Relationship Id="rId5" Type="http://schemas.openxmlformats.org/officeDocument/2006/relationships/tags" Target="../tags/tag769.xml"/><Relationship Id="rId4" Type="http://schemas.openxmlformats.org/officeDocument/2006/relationships/tags" Target="../tags/tag768.xml"/><Relationship Id="rId3" Type="http://schemas.openxmlformats.org/officeDocument/2006/relationships/tags" Target="../tags/tag767.xml"/><Relationship Id="rId2" Type="http://schemas.openxmlformats.org/officeDocument/2006/relationships/tags" Target="../tags/tag766.xml"/><Relationship Id="rId11" Type="http://schemas.openxmlformats.org/officeDocument/2006/relationships/notesSlide" Target="../notesSlides/notesSlide35.xml"/><Relationship Id="rId10" Type="http://schemas.openxmlformats.org/officeDocument/2006/relationships/slideLayout" Target="../slideLayouts/slideLayout53.xml"/><Relationship Id="rId1" Type="http://schemas.openxmlformats.org/officeDocument/2006/relationships/tags" Target="../tags/tag765.xml"/></Relationships>
</file>

<file path=ppt/slides/_rels/slide38.xml.rels><?xml version="1.0" encoding="UTF-8" standalone="yes"?>
<Relationships xmlns="http://schemas.openxmlformats.org/package/2006/relationships"><Relationship Id="rId9" Type="http://schemas.openxmlformats.org/officeDocument/2006/relationships/tags" Target="../tags/tag782.xml"/><Relationship Id="rId8" Type="http://schemas.openxmlformats.org/officeDocument/2006/relationships/tags" Target="../tags/tag781.xml"/><Relationship Id="rId7" Type="http://schemas.openxmlformats.org/officeDocument/2006/relationships/tags" Target="../tags/tag780.xml"/><Relationship Id="rId6" Type="http://schemas.openxmlformats.org/officeDocument/2006/relationships/tags" Target="../tags/tag779.xml"/><Relationship Id="rId5" Type="http://schemas.openxmlformats.org/officeDocument/2006/relationships/tags" Target="../tags/tag778.xml"/><Relationship Id="rId4" Type="http://schemas.openxmlformats.org/officeDocument/2006/relationships/tags" Target="../tags/tag777.xml"/><Relationship Id="rId3" Type="http://schemas.openxmlformats.org/officeDocument/2006/relationships/tags" Target="../tags/tag776.xml"/><Relationship Id="rId2" Type="http://schemas.openxmlformats.org/officeDocument/2006/relationships/tags" Target="../tags/tag775.xml"/><Relationship Id="rId11" Type="http://schemas.openxmlformats.org/officeDocument/2006/relationships/notesSlide" Target="../notesSlides/notesSlide36.xml"/><Relationship Id="rId10" Type="http://schemas.openxmlformats.org/officeDocument/2006/relationships/slideLayout" Target="../slideLayouts/slideLayout54.xml"/><Relationship Id="rId1" Type="http://schemas.openxmlformats.org/officeDocument/2006/relationships/tags" Target="../tags/tag774.xml"/></Relationships>
</file>

<file path=ppt/slides/_rels/slide39.xml.rels><?xml version="1.0" encoding="UTF-8" standalone="yes"?>
<Relationships xmlns="http://schemas.openxmlformats.org/package/2006/relationships"><Relationship Id="rId9" Type="http://schemas.openxmlformats.org/officeDocument/2006/relationships/tags" Target="../tags/tag791.xml"/><Relationship Id="rId8" Type="http://schemas.openxmlformats.org/officeDocument/2006/relationships/tags" Target="../tags/tag790.xml"/><Relationship Id="rId7" Type="http://schemas.openxmlformats.org/officeDocument/2006/relationships/tags" Target="../tags/tag789.xml"/><Relationship Id="rId6" Type="http://schemas.openxmlformats.org/officeDocument/2006/relationships/tags" Target="../tags/tag788.xml"/><Relationship Id="rId5" Type="http://schemas.openxmlformats.org/officeDocument/2006/relationships/tags" Target="../tags/tag787.xml"/><Relationship Id="rId4" Type="http://schemas.openxmlformats.org/officeDocument/2006/relationships/tags" Target="../tags/tag786.xml"/><Relationship Id="rId3" Type="http://schemas.openxmlformats.org/officeDocument/2006/relationships/tags" Target="../tags/tag785.xml"/><Relationship Id="rId2" Type="http://schemas.openxmlformats.org/officeDocument/2006/relationships/tags" Target="../tags/tag784.xml"/><Relationship Id="rId14" Type="http://schemas.openxmlformats.org/officeDocument/2006/relationships/notesSlide" Target="../notesSlides/notesSlide37.xml"/><Relationship Id="rId13" Type="http://schemas.openxmlformats.org/officeDocument/2006/relationships/slideLayout" Target="../slideLayouts/slideLayout55.xml"/><Relationship Id="rId12" Type="http://schemas.openxmlformats.org/officeDocument/2006/relationships/tags" Target="../tags/tag794.xml"/><Relationship Id="rId11" Type="http://schemas.openxmlformats.org/officeDocument/2006/relationships/tags" Target="../tags/tag793.xml"/><Relationship Id="rId10" Type="http://schemas.openxmlformats.org/officeDocument/2006/relationships/tags" Target="../tags/tag792.xml"/><Relationship Id="rId1" Type="http://schemas.openxmlformats.org/officeDocument/2006/relationships/tags" Target="../tags/tag783.xml"/></Relationships>
</file>

<file path=ppt/slides/_rels/slide4.xml.rels><?xml version="1.0" encoding="UTF-8" standalone="yes"?>
<Relationships xmlns="http://schemas.openxmlformats.org/package/2006/relationships"><Relationship Id="rId9" Type="http://schemas.openxmlformats.org/officeDocument/2006/relationships/tags" Target="../tags/tag126.xml"/><Relationship Id="rId8" Type="http://schemas.openxmlformats.org/officeDocument/2006/relationships/tags" Target="../tags/tag125.xml"/><Relationship Id="rId7" Type="http://schemas.openxmlformats.org/officeDocument/2006/relationships/tags" Target="../tags/tag124.xml"/><Relationship Id="rId6" Type="http://schemas.openxmlformats.org/officeDocument/2006/relationships/tags" Target="../tags/tag123.xml"/><Relationship Id="rId5" Type="http://schemas.openxmlformats.org/officeDocument/2006/relationships/tags" Target="../tags/tag122.xml"/><Relationship Id="rId46" Type="http://schemas.openxmlformats.org/officeDocument/2006/relationships/notesSlide" Target="../notesSlides/notesSlide2.xml"/><Relationship Id="rId45" Type="http://schemas.openxmlformats.org/officeDocument/2006/relationships/slideLayout" Target="../slideLayouts/slideLayout20.xml"/><Relationship Id="rId44" Type="http://schemas.openxmlformats.org/officeDocument/2006/relationships/tags" Target="../tags/tag161.xml"/><Relationship Id="rId43" Type="http://schemas.openxmlformats.org/officeDocument/2006/relationships/tags" Target="../tags/tag160.xml"/><Relationship Id="rId42" Type="http://schemas.openxmlformats.org/officeDocument/2006/relationships/tags" Target="../tags/tag159.xml"/><Relationship Id="rId41" Type="http://schemas.openxmlformats.org/officeDocument/2006/relationships/tags" Target="../tags/tag158.xml"/><Relationship Id="rId40" Type="http://schemas.openxmlformats.org/officeDocument/2006/relationships/tags" Target="../tags/tag157.xml"/><Relationship Id="rId4" Type="http://schemas.openxmlformats.org/officeDocument/2006/relationships/tags" Target="../tags/tag121.xml"/><Relationship Id="rId39" Type="http://schemas.openxmlformats.org/officeDocument/2006/relationships/tags" Target="../tags/tag156.xml"/><Relationship Id="rId38" Type="http://schemas.openxmlformats.org/officeDocument/2006/relationships/tags" Target="../tags/tag155.xml"/><Relationship Id="rId37" Type="http://schemas.openxmlformats.org/officeDocument/2006/relationships/tags" Target="../tags/tag154.xml"/><Relationship Id="rId36" Type="http://schemas.openxmlformats.org/officeDocument/2006/relationships/tags" Target="../tags/tag153.xml"/><Relationship Id="rId35" Type="http://schemas.openxmlformats.org/officeDocument/2006/relationships/tags" Target="../tags/tag152.xml"/><Relationship Id="rId34" Type="http://schemas.openxmlformats.org/officeDocument/2006/relationships/tags" Target="../tags/tag151.xml"/><Relationship Id="rId33" Type="http://schemas.openxmlformats.org/officeDocument/2006/relationships/tags" Target="../tags/tag150.xml"/><Relationship Id="rId32" Type="http://schemas.openxmlformats.org/officeDocument/2006/relationships/tags" Target="../tags/tag149.xml"/><Relationship Id="rId31" Type="http://schemas.openxmlformats.org/officeDocument/2006/relationships/tags" Target="../tags/tag148.xml"/><Relationship Id="rId30" Type="http://schemas.openxmlformats.org/officeDocument/2006/relationships/tags" Target="../tags/tag147.xml"/><Relationship Id="rId3" Type="http://schemas.openxmlformats.org/officeDocument/2006/relationships/tags" Target="../tags/tag120.xml"/><Relationship Id="rId29" Type="http://schemas.openxmlformats.org/officeDocument/2006/relationships/tags" Target="../tags/tag146.xml"/><Relationship Id="rId28" Type="http://schemas.openxmlformats.org/officeDocument/2006/relationships/tags" Target="../tags/tag145.xml"/><Relationship Id="rId27" Type="http://schemas.openxmlformats.org/officeDocument/2006/relationships/tags" Target="../tags/tag144.xml"/><Relationship Id="rId26" Type="http://schemas.openxmlformats.org/officeDocument/2006/relationships/tags" Target="../tags/tag143.xml"/><Relationship Id="rId25" Type="http://schemas.openxmlformats.org/officeDocument/2006/relationships/tags" Target="../tags/tag142.xml"/><Relationship Id="rId24" Type="http://schemas.openxmlformats.org/officeDocument/2006/relationships/tags" Target="../tags/tag141.xml"/><Relationship Id="rId23" Type="http://schemas.openxmlformats.org/officeDocument/2006/relationships/tags" Target="../tags/tag140.xml"/><Relationship Id="rId22" Type="http://schemas.openxmlformats.org/officeDocument/2006/relationships/tags" Target="../tags/tag139.xml"/><Relationship Id="rId21" Type="http://schemas.openxmlformats.org/officeDocument/2006/relationships/tags" Target="../tags/tag138.xml"/><Relationship Id="rId20" Type="http://schemas.openxmlformats.org/officeDocument/2006/relationships/tags" Target="../tags/tag137.xml"/><Relationship Id="rId2" Type="http://schemas.openxmlformats.org/officeDocument/2006/relationships/tags" Target="../tags/tag119.xml"/><Relationship Id="rId19" Type="http://schemas.openxmlformats.org/officeDocument/2006/relationships/tags" Target="../tags/tag136.xml"/><Relationship Id="rId18" Type="http://schemas.openxmlformats.org/officeDocument/2006/relationships/tags" Target="../tags/tag135.xml"/><Relationship Id="rId17" Type="http://schemas.openxmlformats.org/officeDocument/2006/relationships/tags" Target="../tags/tag134.xml"/><Relationship Id="rId16" Type="http://schemas.openxmlformats.org/officeDocument/2006/relationships/tags" Target="../tags/tag133.xml"/><Relationship Id="rId15" Type="http://schemas.openxmlformats.org/officeDocument/2006/relationships/tags" Target="../tags/tag132.xml"/><Relationship Id="rId14" Type="http://schemas.openxmlformats.org/officeDocument/2006/relationships/tags" Target="../tags/tag131.xml"/><Relationship Id="rId13" Type="http://schemas.openxmlformats.org/officeDocument/2006/relationships/tags" Target="../tags/tag130.xml"/><Relationship Id="rId12" Type="http://schemas.openxmlformats.org/officeDocument/2006/relationships/tags" Target="../tags/tag129.xml"/><Relationship Id="rId11" Type="http://schemas.openxmlformats.org/officeDocument/2006/relationships/tags" Target="../tags/tag128.xml"/><Relationship Id="rId10" Type="http://schemas.openxmlformats.org/officeDocument/2006/relationships/tags" Target="../tags/tag127.xml"/><Relationship Id="rId1" Type="http://schemas.openxmlformats.org/officeDocument/2006/relationships/tags" Target="../tags/tag118.xml"/></Relationships>
</file>

<file path=ppt/slides/_rels/slide40.xml.rels><?xml version="1.0" encoding="UTF-8" standalone="yes"?>
<Relationships xmlns="http://schemas.openxmlformats.org/package/2006/relationships"><Relationship Id="rId9" Type="http://schemas.openxmlformats.org/officeDocument/2006/relationships/tags" Target="../tags/tag803.xml"/><Relationship Id="rId8" Type="http://schemas.openxmlformats.org/officeDocument/2006/relationships/tags" Target="../tags/tag802.xml"/><Relationship Id="rId7" Type="http://schemas.openxmlformats.org/officeDocument/2006/relationships/tags" Target="../tags/tag801.xml"/><Relationship Id="rId6" Type="http://schemas.openxmlformats.org/officeDocument/2006/relationships/tags" Target="../tags/tag800.xml"/><Relationship Id="rId5" Type="http://schemas.openxmlformats.org/officeDocument/2006/relationships/tags" Target="../tags/tag799.xml"/><Relationship Id="rId4" Type="http://schemas.openxmlformats.org/officeDocument/2006/relationships/tags" Target="../tags/tag798.xml"/><Relationship Id="rId3" Type="http://schemas.openxmlformats.org/officeDocument/2006/relationships/tags" Target="../tags/tag797.xml"/><Relationship Id="rId2" Type="http://schemas.openxmlformats.org/officeDocument/2006/relationships/tags" Target="../tags/tag796.xml"/><Relationship Id="rId14" Type="http://schemas.openxmlformats.org/officeDocument/2006/relationships/notesSlide" Target="../notesSlides/notesSlide38.xml"/><Relationship Id="rId13" Type="http://schemas.openxmlformats.org/officeDocument/2006/relationships/slideLayout" Target="../slideLayouts/slideLayout56.xml"/><Relationship Id="rId12" Type="http://schemas.openxmlformats.org/officeDocument/2006/relationships/tags" Target="../tags/tag806.xml"/><Relationship Id="rId11" Type="http://schemas.openxmlformats.org/officeDocument/2006/relationships/tags" Target="../tags/tag805.xml"/><Relationship Id="rId10" Type="http://schemas.openxmlformats.org/officeDocument/2006/relationships/tags" Target="../tags/tag804.xml"/><Relationship Id="rId1" Type="http://schemas.openxmlformats.org/officeDocument/2006/relationships/tags" Target="../tags/tag795.xml"/></Relationships>
</file>

<file path=ppt/slides/_rels/slide41.xml.rels><?xml version="1.0" encoding="UTF-8" standalone="yes"?>
<Relationships xmlns="http://schemas.openxmlformats.org/package/2006/relationships"><Relationship Id="rId9" Type="http://schemas.openxmlformats.org/officeDocument/2006/relationships/tags" Target="../tags/tag815.xml"/><Relationship Id="rId8" Type="http://schemas.openxmlformats.org/officeDocument/2006/relationships/tags" Target="../tags/tag814.xml"/><Relationship Id="rId7" Type="http://schemas.openxmlformats.org/officeDocument/2006/relationships/tags" Target="../tags/tag813.xml"/><Relationship Id="rId6" Type="http://schemas.openxmlformats.org/officeDocument/2006/relationships/tags" Target="../tags/tag812.xml"/><Relationship Id="rId5" Type="http://schemas.openxmlformats.org/officeDocument/2006/relationships/tags" Target="../tags/tag811.xml"/><Relationship Id="rId4" Type="http://schemas.openxmlformats.org/officeDocument/2006/relationships/tags" Target="../tags/tag810.xml"/><Relationship Id="rId3" Type="http://schemas.openxmlformats.org/officeDocument/2006/relationships/tags" Target="../tags/tag809.xml"/><Relationship Id="rId2" Type="http://schemas.openxmlformats.org/officeDocument/2006/relationships/tags" Target="../tags/tag808.xml"/><Relationship Id="rId14" Type="http://schemas.openxmlformats.org/officeDocument/2006/relationships/notesSlide" Target="../notesSlides/notesSlide39.xml"/><Relationship Id="rId13" Type="http://schemas.openxmlformats.org/officeDocument/2006/relationships/slideLayout" Target="../slideLayouts/slideLayout57.xml"/><Relationship Id="rId12" Type="http://schemas.openxmlformats.org/officeDocument/2006/relationships/tags" Target="../tags/tag818.xml"/><Relationship Id="rId11" Type="http://schemas.openxmlformats.org/officeDocument/2006/relationships/tags" Target="../tags/tag817.xml"/><Relationship Id="rId10" Type="http://schemas.openxmlformats.org/officeDocument/2006/relationships/tags" Target="../tags/tag816.xml"/><Relationship Id="rId1" Type="http://schemas.openxmlformats.org/officeDocument/2006/relationships/tags" Target="../tags/tag807.xml"/></Relationships>
</file>

<file path=ppt/slides/_rels/slide42.xml.rels><?xml version="1.0" encoding="UTF-8" standalone="yes"?>
<Relationships xmlns="http://schemas.openxmlformats.org/package/2006/relationships"><Relationship Id="rId9" Type="http://schemas.openxmlformats.org/officeDocument/2006/relationships/slideLayout" Target="../slideLayouts/slideLayout63.xml"/><Relationship Id="rId8" Type="http://schemas.openxmlformats.org/officeDocument/2006/relationships/tags" Target="../tags/tag823.xml"/><Relationship Id="rId7" Type="http://schemas.openxmlformats.org/officeDocument/2006/relationships/hyperlink" Target="http://www.bofety.com/" TargetMode="External"/><Relationship Id="rId6" Type="http://schemas.openxmlformats.org/officeDocument/2006/relationships/tags" Target="../tags/tag822.xml"/><Relationship Id="rId5" Type="http://schemas.openxmlformats.org/officeDocument/2006/relationships/image" Target="../media/image10.jpeg"/><Relationship Id="rId4" Type="http://schemas.openxmlformats.org/officeDocument/2006/relationships/tags" Target="../tags/tag821.xml"/><Relationship Id="rId3" Type="http://schemas.openxmlformats.org/officeDocument/2006/relationships/image" Target="../media/image9.jpeg"/><Relationship Id="rId2" Type="http://schemas.openxmlformats.org/officeDocument/2006/relationships/tags" Target="../tags/tag820.xml"/><Relationship Id="rId1" Type="http://schemas.openxmlformats.org/officeDocument/2006/relationships/tags" Target="../tags/tag819.xml"/></Relationships>
</file>

<file path=ppt/slides/_rels/slide5.xml.rels><?xml version="1.0" encoding="UTF-8" standalone="yes"?>
<Relationships xmlns="http://schemas.openxmlformats.org/package/2006/relationships"><Relationship Id="rId9" Type="http://schemas.openxmlformats.org/officeDocument/2006/relationships/tags" Target="../tags/tag170.xml"/><Relationship Id="rId8" Type="http://schemas.openxmlformats.org/officeDocument/2006/relationships/tags" Target="../tags/tag169.xml"/><Relationship Id="rId7" Type="http://schemas.openxmlformats.org/officeDocument/2006/relationships/tags" Target="../tags/tag168.x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 Id="rId3" Type="http://schemas.openxmlformats.org/officeDocument/2006/relationships/tags" Target="../tags/tag164.xml"/><Relationship Id="rId25" Type="http://schemas.openxmlformats.org/officeDocument/2006/relationships/notesSlide" Target="../notesSlides/notesSlide3.xml"/><Relationship Id="rId24" Type="http://schemas.openxmlformats.org/officeDocument/2006/relationships/slideLayout" Target="../slideLayouts/slideLayout21.xml"/><Relationship Id="rId23" Type="http://schemas.openxmlformats.org/officeDocument/2006/relationships/tags" Target="../tags/tag184.xml"/><Relationship Id="rId22" Type="http://schemas.openxmlformats.org/officeDocument/2006/relationships/tags" Target="../tags/tag183.xml"/><Relationship Id="rId21" Type="http://schemas.openxmlformats.org/officeDocument/2006/relationships/tags" Target="../tags/tag182.xml"/><Relationship Id="rId20" Type="http://schemas.openxmlformats.org/officeDocument/2006/relationships/tags" Target="../tags/tag181.xml"/><Relationship Id="rId2" Type="http://schemas.openxmlformats.org/officeDocument/2006/relationships/tags" Target="../tags/tag163.xml"/><Relationship Id="rId19" Type="http://schemas.openxmlformats.org/officeDocument/2006/relationships/tags" Target="../tags/tag180.xml"/><Relationship Id="rId18" Type="http://schemas.openxmlformats.org/officeDocument/2006/relationships/tags" Target="../tags/tag179.xml"/><Relationship Id="rId17" Type="http://schemas.openxmlformats.org/officeDocument/2006/relationships/tags" Target="../tags/tag178.xml"/><Relationship Id="rId16" Type="http://schemas.openxmlformats.org/officeDocument/2006/relationships/tags" Target="../tags/tag177.xml"/><Relationship Id="rId15" Type="http://schemas.openxmlformats.org/officeDocument/2006/relationships/tags" Target="../tags/tag176.xml"/><Relationship Id="rId14" Type="http://schemas.openxmlformats.org/officeDocument/2006/relationships/tags" Target="../tags/tag175.xml"/><Relationship Id="rId13" Type="http://schemas.openxmlformats.org/officeDocument/2006/relationships/tags" Target="../tags/tag174.xml"/><Relationship Id="rId12" Type="http://schemas.openxmlformats.org/officeDocument/2006/relationships/tags" Target="../tags/tag173.xml"/><Relationship Id="rId11" Type="http://schemas.openxmlformats.org/officeDocument/2006/relationships/tags" Target="../tags/tag172.xml"/><Relationship Id="rId10" Type="http://schemas.openxmlformats.org/officeDocument/2006/relationships/tags" Target="../tags/tag171.xml"/><Relationship Id="rId1" Type="http://schemas.openxmlformats.org/officeDocument/2006/relationships/tags" Target="../tags/tag162.xml"/></Relationships>
</file>

<file path=ppt/slides/_rels/slide6.xml.rels><?xml version="1.0" encoding="UTF-8" standalone="yes"?>
<Relationships xmlns="http://schemas.openxmlformats.org/package/2006/relationships"><Relationship Id="rId9" Type="http://schemas.openxmlformats.org/officeDocument/2006/relationships/tags" Target="../tags/tag193.xml"/><Relationship Id="rId8" Type="http://schemas.openxmlformats.org/officeDocument/2006/relationships/tags" Target="../tags/tag192.xml"/><Relationship Id="rId7" Type="http://schemas.openxmlformats.org/officeDocument/2006/relationships/tags" Target="../tags/tag191.xml"/><Relationship Id="rId6" Type="http://schemas.openxmlformats.org/officeDocument/2006/relationships/tags" Target="../tags/tag190.xml"/><Relationship Id="rId5" Type="http://schemas.openxmlformats.org/officeDocument/2006/relationships/tags" Target="../tags/tag189.xml"/><Relationship Id="rId44" Type="http://schemas.openxmlformats.org/officeDocument/2006/relationships/notesSlide" Target="../notesSlides/notesSlide4.xml"/><Relationship Id="rId43" Type="http://schemas.openxmlformats.org/officeDocument/2006/relationships/slideLayout" Target="../slideLayouts/slideLayout22.xml"/><Relationship Id="rId42" Type="http://schemas.openxmlformats.org/officeDocument/2006/relationships/tags" Target="../tags/tag226.xml"/><Relationship Id="rId41" Type="http://schemas.openxmlformats.org/officeDocument/2006/relationships/tags" Target="../tags/tag225.xml"/><Relationship Id="rId40" Type="http://schemas.openxmlformats.org/officeDocument/2006/relationships/tags" Target="../tags/tag224.xml"/><Relationship Id="rId4" Type="http://schemas.openxmlformats.org/officeDocument/2006/relationships/tags" Target="../tags/tag188.xml"/><Relationship Id="rId39" Type="http://schemas.openxmlformats.org/officeDocument/2006/relationships/tags" Target="../tags/tag223.xml"/><Relationship Id="rId38" Type="http://schemas.openxmlformats.org/officeDocument/2006/relationships/tags" Target="../tags/tag222.xml"/><Relationship Id="rId37" Type="http://schemas.openxmlformats.org/officeDocument/2006/relationships/tags" Target="../tags/tag221.xml"/><Relationship Id="rId36" Type="http://schemas.openxmlformats.org/officeDocument/2006/relationships/tags" Target="../tags/tag220.xml"/><Relationship Id="rId35" Type="http://schemas.openxmlformats.org/officeDocument/2006/relationships/tags" Target="../tags/tag219.xml"/><Relationship Id="rId34" Type="http://schemas.openxmlformats.org/officeDocument/2006/relationships/tags" Target="../tags/tag218.xml"/><Relationship Id="rId33" Type="http://schemas.openxmlformats.org/officeDocument/2006/relationships/tags" Target="../tags/tag217.xml"/><Relationship Id="rId32" Type="http://schemas.openxmlformats.org/officeDocument/2006/relationships/tags" Target="../tags/tag216.xml"/><Relationship Id="rId31" Type="http://schemas.openxmlformats.org/officeDocument/2006/relationships/tags" Target="../tags/tag215.xml"/><Relationship Id="rId30" Type="http://schemas.openxmlformats.org/officeDocument/2006/relationships/tags" Target="../tags/tag214.xml"/><Relationship Id="rId3" Type="http://schemas.openxmlformats.org/officeDocument/2006/relationships/tags" Target="../tags/tag187.xml"/><Relationship Id="rId29" Type="http://schemas.openxmlformats.org/officeDocument/2006/relationships/tags" Target="../tags/tag213.xml"/><Relationship Id="rId28" Type="http://schemas.openxmlformats.org/officeDocument/2006/relationships/tags" Target="../tags/tag212.xml"/><Relationship Id="rId27" Type="http://schemas.openxmlformats.org/officeDocument/2006/relationships/tags" Target="../tags/tag211.xml"/><Relationship Id="rId26" Type="http://schemas.openxmlformats.org/officeDocument/2006/relationships/tags" Target="../tags/tag210.xml"/><Relationship Id="rId25" Type="http://schemas.openxmlformats.org/officeDocument/2006/relationships/tags" Target="../tags/tag209.xml"/><Relationship Id="rId24" Type="http://schemas.openxmlformats.org/officeDocument/2006/relationships/tags" Target="../tags/tag208.xml"/><Relationship Id="rId23" Type="http://schemas.openxmlformats.org/officeDocument/2006/relationships/tags" Target="../tags/tag207.xml"/><Relationship Id="rId22" Type="http://schemas.openxmlformats.org/officeDocument/2006/relationships/tags" Target="../tags/tag206.xml"/><Relationship Id="rId21" Type="http://schemas.openxmlformats.org/officeDocument/2006/relationships/tags" Target="../tags/tag205.xml"/><Relationship Id="rId20" Type="http://schemas.openxmlformats.org/officeDocument/2006/relationships/tags" Target="../tags/tag204.xml"/><Relationship Id="rId2" Type="http://schemas.openxmlformats.org/officeDocument/2006/relationships/tags" Target="../tags/tag186.xml"/><Relationship Id="rId19" Type="http://schemas.openxmlformats.org/officeDocument/2006/relationships/tags" Target="../tags/tag203.xml"/><Relationship Id="rId18" Type="http://schemas.openxmlformats.org/officeDocument/2006/relationships/tags" Target="../tags/tag202.xml"/><Relationship Id="rId17" Type="http://schemas.openxmlformats.org/officeDocument/2006/relationships/tags" Target="../tags/tag201.xml"/><Relationship Id="rId16" Type="http://schemas.openxmlformats.org/officeDocument/2006/relationships/tags" Target="../tags/tag200.xml"/><Relationship Id="rId15" Type="http://schemas.openxmlformats.org/officeDocument/2006/relationships/tags" Target="../tags/tag199.xml"/><Relationship Id="rId14" Type="http://schemas.openxmlformats.org/officeDocument/2006/relationships/tags" Target="../tags/tag198.xml"/><Relationship Id="rId13" Type="http://schemas.openxmlformats.org/officeDocument/2006/relationships/tags" Target="../tags/tag197.xml"/><Relationship Id="rId12" Type="http://schemas.openxmlformats.org/officeDocument/2006/relationships/tags" Target="../tags/tag196.xml"/><Relationship Id="rId11" Type="http://schemas.openxmlformats.org/officeDocument/2006/relationships/tags" Target="../tags/tag195.xml"/><Relationship Id="rId10" Type="http://schemas.openxmlformats.org/officeDocument/2006/relationships/tags" Target="../tags/tag194.xml"/><Relationship Id="rId1" Type="http://schemas.openxmlformats.org/officeDocument/2006/relationships/tags" Target="../tags/tag185.xml"/></Relationships>
</file>

<file path=ppt/slides/_rels/slide7.xml.rels><?xml version="1.0" encoding="UTF-8" standalone="yes"?>
<Relationships xmlns="http://schemas.openxmlformats.org/package/2006/relationships"><Relationship Id="rId9" Type="http://schemas.openxmlformats.org/officeDocument/2006/relationships/tags" Target="../tags/tag235.xml"/><Relationship Id="rId8" Type="http://schemas.openxmlformats.org/officeDocument/2006/relationships/tags" Target="../tags/tag234.xml"/><Relationship Id="rId7" Type="http://schemas.openxmlformats.org/officeDocument/2006/relationships/tags" Target="../tags/tag233.xml"/><Relationship Id="rId6" Type="http://schemas.openxmlformats.org/officeDocument/2006/relationships/tags" Target="../tags/tag232.xml"/><Relationship Id="rId5" Type="http://schemas.openxmlformats.org/officeDocument/2006/relationships/tags" Target="../tags/tag231.xml"/><Relationship Id="rId4" Type="http://schemas.openxmlformats.org/officeDocument/2006/relationships/tags" Target="../tags/tag230.xml"/><Relationship Id="rId35" Type="http://schemas.openxmlformats.org/officeDocument/2006/relationships/notesSlide" Target="../notesSlides/notesSlide5.xml"/><Relationship Id="rId34" Type="http://schemas.openxmlformats.org/officeDocument/2006/relationships/slideLayout" Target="../slideLayouts/slideLayout23.xml"/><Relationship Id="rId33" Type="http://schemas.openxmlformats.org/officeDocument/2006/relationships/tags" Target="../tags/tag259.xml"/><Relationship Id="rId32" Type="http://schemas.openxmlformats.org/officeDocument/2006/relationships/tags" Target="../tags/tag258.xml"/><Relationship Id="rId31" Type="http://schemas.openxmlformats.org/officeDocument/2006/relationships/tags" Target="../tags/tag257.xml"/><Relationship Id="rId30" Type="http://schemas.openxmlformats.org/officeDocument/2006/relationships/tags" Target="../tags/tag256.xml"/><Relationship Id="rId3" Type="http://schemas.openxmlformats.org/officeDocument/2006/relationships/tags" Target="../tags/tag229.xml"/><Relationship Id="rId29" Type="http://schemas.openxmlformats.org/officeDocument/2006/relationships/tags" Target="../tags/tag255.xml"/><Relationship Id="rId28" Type="http://schemas.openxmlformats.org/officeDocument/2006/relationships/tags" Target="../tags/tag254.xml"/><Relationship Id="rId27" Type="http://schemas.openxmlformats.org/officeDocument/2006/relationships/tags" Target="../tags/tag253.xml"/><Relationship Id="rId26" Type="http://schemas.openxmlformats.org/officeDocument/2006/relationships/tags" Target="../tags/tag252.xml"/><Relationship Id="rId25" Type="http://schemas.openxmlformats.org/officeDocument/2006/relationships/tags" Target="../tags/tag251.xml"/><Relationship Id="rId24" Type="http://schemas.openxmlformats.org/officeDocument/2006/relationships/tags" Target="../tags/tag250.xml"/><Relationship Id="rId23" Type="http://schemas.openxmlformats.org/officeDocument/2006/relationships/tags" Target="../tags/tag249.xml"/><Relationship Id="rId22" Type="http://schemas.openxmlformats.org/officeDocument/2006/relationships/tags" Target="../tags/tag248.xml"/><Relationship Id="rId21" Type="http://schemas.openxmlformats.org/officeDocument/2006/relationships/tags" Target="../tags/tag247.xml"/><Relationship Id="rId20" Type="http://schemas.openxmlformats.org/officeDocument/2006/relationships/tags" Target="../tags/tag246.xml"/><Relationship Id="rId2" Type="http://schemas.openxmlformats.org/officeDocument/2006/relationships/tags" Target="../tags/tag228.xml"/><Relationship Id="rId19" Type="http://schemas.openxmlformats.org/officeDocument/2006/relationships/tags" Target="../tags/tag245.xml"/><Relationship Id="rId18" Type="http://schemas.openxmlformats.org/officeDocument/2006/relationships/tags" Target="../tags/tag244.xml"/><Relationship Id="rId17" Type="http://schemas.openxmlformats.org/officeDocument/2006/relationships/tags" Target="../tags/tag243.xml"/><Relationship Id="rId16" Type="http://schemas.openxmlformats.org/officeDocument/2006/relationships/tags" Target="../tags/tag242.xml"/><Relationship Id="rId15" Type="http://schemas.openxmlformats.org/officeDocument/2006/relationships/tags" Target="../tags/tag241.xml"/><Relationship Id="rId14" Type="http://schemas.openxmlformats.org/officeDocument/2006/relationships/tags" Target="../tags/tag240.xml"/><Relationship Id="rId13" Type="http://schemas.openxmlformats.org/officeDocument/2006/relationships/tags" Target="../tags/tag239.xml"/><Relationship Id="rId12" Type="http://schemas.openxmlformats.org/officeDocument/2006/relationships/tags" Target="../tags/tag238.xml"/><Relationship Id="rId11" Type="http://schemas.openxmlformats.org/officeDocument/2006/relationships/tags" Target="../tags/tag237.xml"/><Relationship Id="rId10" Type="http://schemas.openxmlformats.org/officeDocument/2006/relationships/tags" Target="../tags/tag236.xml"/><Relationship Id="rId1" Type="http://schemas.openxmlformats.org/officeDocument/2006/relationships/tags" Target="../tags/tag227.xml"/></Relationships>
</file>

<file path=ppt/slides/_rels/slide8.xml.rels><?xml version="1.0" encoding="UTF-8" standalone="yes"?>
<Relationships xmlns="http://schemas.openxmlformats.org/package/2006/relationships"><Relationship Id="rId9" Type="http://schemas.openxmlformats.org/officeDocument/2006/relationships/tags" Target="../tags/tag268.xml"/><Relationship Id="rId8" Type="http://schemas.openxmlformats.org/officeDocument/2006/relationships/tags" Target="../tags/tag267.xml"/><Relationship Id="rId7" Type="http://schemas.openxmlformats.org/officeDocument/2006/relationships/tags" Target="../tags/tag266.xml"/><Relationship Id="rId6" Type="http://schemas.openxmlformats.org/officeDocument/2006/relationships/tags" Target="../tags/tag265.xml"/><Relationship Id="rId5" Type="http://schemas.openxmlformats.org/officeDocument/2006/relationships/tags" Target="../tags/tag264.xml"/><Relationship Id="rId4" Type="http://schemas.openxmlformats.org/officeDocument/2006/relationships/tags" Target="../tags/tag263.xml"/><Relationship Id="rId33" Type="http://schemas.openxmlformats.org/officeDocument/2006/relationships/notesSlide" Target="../notesSlides/notesSlide6.xml"/><Relationship Id="rId32" Type="http://schemas.openxmlformats.org/officeDocument/2006/relationships/slideLayout" Target="../slideLayouts/slideLayout24.xml"/><Relationship Id="rId31" Type="http://schemas.openxmlformats.org/officeDocument/2006/relationships/tags" Target="../tags/tag290.xml"/><Relationship Id="rId30" Type="http://schemas.openxmlformats.org/officeDocument/2006/relationships/tags" Target="../tags/tag289.xml"/><Relationship Id="rId3" Type="http://schemas.openxmlformats.org/officeDocument/2006/relationships/tags" Target="../tags/tag262.xml"/><Relationship Id="rId29" Type="http://schemas.openxmlformats.org/officeDocument/2006/relationships/tags" Target="../tags/tag288.xml"/><Relationship Id="rId28" Type="http://schemas.openxmlformats.org/officeDocument/2006/relationships/tags" Target="../tags/tag287.xml"/><Relationship Id="rId27" Type="http://schemas.openxmlformats.org/officeDocument/2006/relationships/tags" Target="../tags/tag286.xml"/><Relationship Id="rId26" Type="http://schemas.openxmlformats.org/officeDocument/2006/relationships/tags" Target="../tags/tag285.xml"/><Relationship Id="rId25" Type="http://schemas.openxmlformats.org/officeDocument/2006/relationships/tags" Target="../tags/tag284.xml"/><Relationship Id="rId24" Type="http://schemas.openxmlformats.org/officeDocument/2006/relationships/tags" Target="../tags/tag283.xml"/><Relationship Id="rId23" Type="http://schemas.openxmlformats.org/officeDocument/2006/relationships/tags" Target="../tags/tag282.xml"/><Relationship Id="rId22" Type="http://schemas.openxmlformats.org/officeDocument/2006/relationships/tags" Target="../tags/tag281.xml"/><Relationship Id="rId21" Type="http://schemas.openxmlformats.org/officeDocument/2006/relationships/tags" Target="../tags/tag280.xml"/><Relationship Id="rId20" Type="http://schemas.openxmlformats.org/officeDocument/2006/relationships/tags" Target="../tags/tag279.xml"/><Relationship Id="rId2" Type="http://schemas.openxmlformats.org/officeDocument/2006/relationships/tags" Target="../tags/tag261.xml"/><Relationship Id="rId19" Type="http://schemas.openxmlformats.org/officeDocument/2006/relationships/tags" Target="../tags/tag278.xml"/><Relationship Id="rId18" Type="http://schemas.openxmlformats.org/officeDocument/2006/relationships/tags" Target="../tags/tag277.xml"/><Relationship Id="rId17" Type="http://schemas.openxmlformats.org/officeDocument/2006/relationships/tags" Target="../tags/tag276.xml"/><Relationship Id="rId16" Type="http://schemas.openxmlformats.org/officeDocument/2006/relationships/tags" Target="../tags/tag275.xml"/><Relationship Id="rId15" Type="http://schemas.openxmlformats.org/officeDocument/2006/relationships/tags" Target="../tags/tag274.xml"/><Relationship Id="rId14" Type="http://schemas.openxmlformats.org/officeDocument/2006/relationships/tags" Target="../tags/tag273.xml"/><Relationship Id="rId13" Type="http://schemas.openxmlformats.org/officeDocument/2006/relationships/tags" Target="../tags/tag272.xml"/><Relationship Id="rId12" Type="http://schemas.openxmlformats.org/officeDocument/2006/relationships/tags" Target="../tags/tag271.xml"/><Relationship Id="rId11" Type="http://schemas.openxmlformats.org/officeDocument/2006/relationships/tags" Target="../tags/tag270.xml"/><Relationship Id="rId10" Type="http://schemas.openxmlformats.org/officeDocument/2006/relationships/tags" Target="../tags/tag269.xml"/><Relationship Id="rId1" Type="http://schemas.openxmlformats.org/officeDocument/2006/relationships/tags" Target="../tags/tag260.xml"/></Relationships>
</file>

<file path=ppt/slides/_rels/slide9.xml.rels><?xml version="1.0" encoding="UTF-8" standalone="yes"?>
<Relationships xmlns="http://schemas.openxmlformats.org/package/2006/relationships"><Relationship Id="rId9" Type="http://schemas.openxmlformats.org/officeDocument/2006/relationships/tags" Target="../tags/tag299.xml"/><Relationship Id="rId8" Type="http://schemas.openxmlformats.org/officeDocument/2006/relationships/tags" Target="../tags/tag298.xml"/><Relationship Id="rId7" Type="http://schemas.openxmlformats.org/officeDocument/2006/relationships/tags" Target="../tags/tag297.xml"/><Relationship Id="rId6" Type="http://schemas.openxmlformats.org/officeDocument/2006/relationships/tags" Target="../tags/tag296.xml"/><Relationship Id="rId5" Type="http://schemas.openxmlformats.org/officeDocument/2006/relationships/tags" Target="../tags/tag295.xml"/><Relationship Id="rId48" Type="http://schemas.openxmlformats.org/officeDocument/2006/relationships/notesSlide" Target="../notesSlides/notesSlide7.xml"/><Relationship Id="rId47" Type="http://schemas.openxmlformats.org/officeDocument/2006/relationships/slideLayout" Target="../slideLayouts/slideLayout25.xml"/><Relationship Id="rId46" Type="http://schemas.openxmlformats.org/officeDocument/2006/relationships/tags" Target="../tags/tag336.xml"/><Relationship Id="rId45" Type="http://schemas.openxmlformats.org/officeDocument/2006/relationships/tags" Target="../tags/tag335.xml"/><Relationship Id="rId44" Type="http://schemas.openxmlformats.org/officeDocument/2006/relationships/tags" Target="../tags/tag334.xml"/><Relationship Id="rId43" Type="http://schemas.openxmlformats.org/officeDocument/2006/relationships/tags" Target="../tags/tag333.xml"/><Relationship Id="rId42" Type="http://schemas.openxmlformats.org/officeDocument/2006/relationships/tags" Target="../tags/tag332.xml"/><Relationship Id="rId41" Type="http://schemas.openxmlformats.org/officeDocument/2006/relationships/tags" Target="../tags/tag331.xml"/><Relationship Id="rId40" Type="http://schemas.openxmlformats.org/officeDocument/2006/relationships/tags" Target="../tags/tag330.xml"/><Relationship Id="rId4" Type="http://schemas.openxmlformats.org/officeDocument/2006/relationships/tags" Target="../tags/tag294.xml"/><Relationship Id="rId39" Type="http://schemas.openxmlformats.org/officeDocument/2006/relationships/tags" Target="../tags/tag329.xml"/><Relationship Id="rId38" Type="http://schemas.openxmlformats.org/officeDocument/2006/relationships/tags" Target="../tags/tag328.xml"/><Relationship Id="rId37" Type="http://schemas.openxmlformats.org/officeDocument/2006/relationships/tags" Target="../tags/tag327.xml"/><Relationship Id="rId36" Type="http://schemas.openxmlformats.org/officeDocument/2006/relationships/tags" Target="../tags/tag326.xml"/><Relationship Id="rId35" Type="http://schemas.openxmlformats.org/officeDocument/2006/relationships/tags" Target="../tags/tag325.xml"/><Relationship Id="rId34" Type="http://schemas.openxmlformats.org/officeDocument/2006/relationships/tags" Target="../tags/tag324.xml"/><Relationship Id="rId33" Type="http://schemas.openxmlformats.org/officeDocument/2006/relationships/tags" Target="../tags/tag323.xml"/><Relationship Id="rId32" Type="http://schemas.openxmlformats.org/officeDocument/2006/relationships/tags" Target="../tags/tag322.xml"/><Relationship Id="rId31" Type="http://schemas.openxmlformats.org/officeDocument/2006/relationships/tags" Target="../tags/tag321.xml"/><Relationship Id="rId30" Type="http://schemas.openxmlformats.org/officeDocument/2006/relationships/tags" Target="../tags/tag320.xml"/><Relationship Id="rId3" Type="http://schemas.openxmlformats.org/officeDocument/2006/relationships/tags" Target="../tags/tag293.xml"/><Relationship Id="rId29" Type="http://schemas.openxmlformats.org/officeDocument/2006/relationships/tags" Target="../tags/tag319.xml"/><Relationship Id="rId28" Type="http://schemas.openxmlformats.org/officeDocument/2006/relationships/tags" Target="../tags/tag318.xml"/><Relationship Id="rId27" Type="http://schemas.openxmlformats.org/officeDocument/2006/relationships/tags" Target="../tags/tag317.xml"/><Relationship Id="rId26" Type="http://schemas.openxmlformats.org/officeDocument/2006/relationships/tags" Target="../tags/tag316.xml"/><Relationship Id="rId25" Type="http://schemas.openxmlformats.org/officeDocument/2006/relationships/tags" Target="../tags/tag315.xml"/><Relationship Id="rId24" Type="http://schemas.openxmlformats.org/officeDocument/2006/relationships/tags" Target="../tags/tag314.xml"/><Relationship Id="rId23" Type="http://schemas.openxmlformats.org/officeDocument/2006/relationships/tags" Target="../tags/tag313.xml"/><Relationship Id="rId22" Type="http://schemas.openxmlformats.org/officeDocument/2006/relationships/tags" Target="../tags/tag312.xml"/><Relationship Id="rId21" Type="http://schemas.openxmlformats.org/officeDocument/2006/relationships/tags" Target="../tags/tag311.xml"/><Relationship Id="rId20" Type="http://schemas.openxmlformats.org/officeDocument/2006/relationships/tags" Target="../tags/tag310.xml"/><Relationship Id="rId2" Type="http://schemas.openxmlformats.org/officeDocument/2006/relationships/tags" Target="../tags/tag292.xml"/><Relationship Id="rId19" Type="http://schemas.openxmlformats.org/officeDocument/2006/relationships/tags" Target="../tags/tag309.xml"/><Relationship Id="rId18" Type="http://schemas.openxmlformats.org/officeDocument/2006/relationships/tags" Target="../tags/tag308.xml"/><Relationship Id="rId17" Type="http://schemas.openxmlformats.org/officeDocument/2006/relationships/tags" Target="../tags/tag307.xml"/><Relationship Id="rId16" Type="http://schemas.openxmlformats.org/officeDocument/2006/relationships/tags" Target="../tags/tag306.xml"/><Relationship Id="rId15" Type="http://schemas.openxmlformats.org/officeDocument/2006/relationships/tags" Target="../tags/tag305.xml"/><Relationship Id="rId14" Type="http://schemas.openxmlformats.org/officeDocument/2006/relationships/tags" Target="../tags/tag304.xml"/><Relationship Id="rId13" Type="http://schemas.openxmlformats.org/officeDocument/2006/relationships/tags" Target="../tags/tag303.xml"/><Relationship Id="rId12" Type="http://schemas.openxmlformats.org/officeDocument/2006/relationships/tags" Target="../tags/tag302.xml"/><Relationship Id="rId11" Type="http://schemas.openxmlformats.org/officeDocument/2006/relationships/tags" Target="../tags/tag301.xml"/><Relationship Id="rId10" Type="http://schemas.openxmlformats.org/officeDocument/2006/relationships/tags" Target="../tags/tag300.xml"/><Relationship Id="rId1" Type="http://schemas.openxmlformats.org/officeDocument/2006/relationships/tags" Target="../tags/tag2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12700" y="1492250"/>
            <a:ext cx="12192000" cy="3455988"/>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endParaRPr lang="zh-CN" altLang="en-US" sz="2400" strike="noStrike" noProof="1">
              <a:cs typeface="微软雅黑" panose="020B0503020204020204" charset="-122"/>
            </a:endParaRPr>
          </a:p>
        </p:txBody>
      </p:sp>
      <p:sp>
        <p:nvSpPr>
          <p:cNvPr id="2" name="日期占位符 1"/>
          <p:cNvSpPr>
            <a:spLocks noGrp="1"/>
          </p:cNvSpPr>
          <p:nvPr>
            <p:ph type="dt" sz="half" idx="12"/>
          </p:nvPr>
        </p:nvSpPr>
        <p:spPr/>
        <p:txBody>
          <a:bodyPr lIns="91440" tIns="45720" rIns="91440" bIns="45720" rtlCol="0" anchor="ctr"/>
          <a:lstStyle/>
          <a:p>
            <a:pPr marL="0" marR="0" indent="0" algn="l" defTabSz="914400" rtl="0" eaLnBrk="0" fontAlgn="base" latinLnBrk="0" hangingPunct="0">
              <a:lnSpc>
                <a:spcPct val="100000"/>
              </a:lnSpc>
              <a:spcBef>
                <a:spcPct val="0"/>
              </a:spcBef>
              <a:spcAft>
                <a:spcPct val="0"/>
              </a:spcAft>
              <a:buClrTx/>
              <a:buSzTx/>
              <a:buFontTx/>
              <a:buNone/>
            </a:pPr>
            <a:fld id="{2A0CE1AF-DAB2-4ADF-93FA-D25DD27C0739}" type="datetime1">
              <a:rPr kumimoji="0" lang="zh-CN" altLang="en-US" sz="2135" b="1" i="0" u="none" strike="noStrike" kern="1200" cap="none" spc="0" normalizeH="0" baseline="0" noProof="1" smtClean="0">
                <a:solidFill>
                  <a:schemeClr val="bg1"/>
                </a:solidFill>
                <a:latin typeface="微软雅黑" panose="020B0503020204020204" charset="-122"/>
                <a:ea typeface="微软雅黑" panose="020B0503020204020204" charset="-122"/>
                <a:cs typeface="微软雅黑" panose="020B0503020204020204" charset="-122"/>
              </a:rPr>
            </a:fld>
            <a:endParaRPr kumimoji="0" lang="zh-CN" altLang="en-US" sz="2135" b="1" i="0" u="none" strike="noStrike" kern="1200" cap="none" spc="0" normalizeH="0" baseline="0" noProof="1">
              <a:solidFill>
                <a:schemeClr val="bg1"/>
              </a:solidFill>
              <a:latin typeface="微软雅黑" panose="020B0503020204020204" charset="-122"/>
              <a:ea typeface="微软雅黑" panose="020B0503020204020204" charset="-122"/>
              <a:cs typeface="微软雅黑" panose="020B0503020204020204" charset="-122"/>
            </a:endParaRPr>
          </a:p>
        </p:txBody>
      </p:sp>
      <p:sp>
        <p:nvSpPr>
          <p:cNvPr id="28675" name="文本框 2"/>
          <p:cNvSpPr txBox="1"/>
          <p:nvPr/>
        </p:nvSpPr>
        <p:spPr>
          <a:xfrm>
            <a:off x="196850" y="2324100"/>
            <a:ext cx="11825288" cy="1411605"/>
          </a:xfrm>
          <a:prstGeom prst="rect">
            <a:avLst/>
          </a:prstGeom>
          <a:noFill/>
          <a:ln w="9525">
            <a:noFill/>
          </a:ln>
        </p:spPr>
        <p:txBody>
          <a:bodyPr wrap="square" anchor="t" anchorCtr="0">
            <a:spAutoFit/>
          </a:bodyPr>
          <a:lstStyle/>
          <a:p>
            <a:pPr algn="ctr">
              <a:lnSpc>
                <a:spcPct val="130000"/>
              </a:lnSpc>
              <a:defRPr/>
            </a:pPr>
            <a:r>
              <a:rPr lang="zh-CN" altLang="en-US" sz="6600" b="1" dirty="0">
                <a:solidFill>
                  <a:schemeClr val="tx1"/>
                </a:solidFill>
                <a:latin typeface="微软雅黑" panose="020B0503020204020204" charset="-122"/>
                <a:ea typeface="微软雅黑" panose="020B0503020204020204" charset="-122"/>
                <a:sym typeface="+mn-ea"/>
              </a:rPr>
              <a:t>各类突发事件应急手册</a:t>
            </a:r>
            <a:endParaRPr lang="zh-CN" altLang="en-US" sz="6600" b="1" dirty="0">
              <a:solidFill>
                <a:schemeClr val="tx1"/>
              </a:solidFill>
              <a:latin typeface="微软雅黑" panose="020B0503020204020204" charset="-122"/>
              <a:ea typeface="微软雅黑" panose="020B0503020204020204" charset="-122"/>
              <a:sym typeface="+mn-ea"/>
            </a:endParaRPr>
          </a:p>
        </p:txBody>
      </p:sp>
      <p:sp>
        <p:nvSpPr>
          <p:cNvPr id="3" name="文本框 2" descr="7b0a2020202022776f7264617274223a20227b5c2269645c223a32353030343531362c5c227469645c223a31333439377d220a7d0a"/>
          <p:cNvSpPr txBox="1"/>
          <p:nvPr>
            <p:custDataLst>
              <p:tags r:id="rId1"/>
            </p:custDataLst>
          </p:nvPr>
        </p:nvSpPr>
        <p:spPr>
          <a:xfrm>
            <a:off x="7613650" y="4171181"/>
            <a:ext cx="2364740" cy="477520"/>
          </a:xfrm>
          <a:prstGeom prst="rect">
            <a:avLst/>
          </a:prstGeom>
          <a:solidFill>
            <a:schemeClr val="accent3">
              <a:lumMod val="75000"/>
            </a:schemeClr>
          </a:solidFill>
        </p:spPr>
        <p:txBody>
          <a:bodyPr wrap="square" rtlCol="0">
            <a:noAutofit/>
            <a:scene3d>
              <a:camera prst="orthographicFront"/>
              <a:lightRig rig="threePt" dir="t"/>
            </a:scene3d>
          </a:bodyPr>
          <a:p>
            <a:pPr algn="dist"/>
            <a:r>
              <a:rPr lang="zh-CN" altLang="en-US" sz="2400" b="1" dirty="0">
                <a:solidFill>
                  <a:schemeClr val="lt1"/>
                </a:solidFill>
                <a:effectLst/>
                <a:latin typeface="微软雅黑" panose="020B0503020204020204" charset="-122"/>
                <a:ea typeface="微软雅黑" panose="020B0503020204020204" charset="-122"/>
              </a:rPr>
              <a:t>博富特咨询</a:t>
            </a:r>
            <a:r>
              <a:rPr lang="en-US" altLang="zh-CN" sz="2400" b="1" dirty="0">
                <a:solidFill>
                  <a:schemeClr val="lt1"/>
                </a:solidFill>
                <a:effectLst/>
                <a:latin typeface="微软雅黑" panose="020B0503020204020204" charset="-122"/>
                <a:ea typeface="微软雅黑" panose="020B0503020204020204" charset="-122"/>
              </a:rPr>
              <a:t> </a:t>
            </a:r>
            <a:endParaRPr lang="en-US" altLang="zh-CN" sz="2400" b="1" dirty="0">
              <a:solidFill>
                <a:schemeClr val="lt1"/>
              </a:solidFill>
              <a:effectLst/>
              <a:latin typeface="微软雅黑" panose="020B0503020204020204" charset="-122"/>
              <a:ea typeface="微软雅黑" panose="020B0503020204020204" charset="-122"/>
            </a:endParaRPr>
          </a:p>
        </p:txBody>
      </p:sp>
      <p:sp>
        <p:nvSpPr>
          <p:cNvPr id="4" name="椭圆 3"/>
          <p:cNvSpPr/>
          <p:nvPr>
            <p:custDataLst>
              <p:tags r:id="rId2"/>
            </p:custDataLst>
          </p:nvPr>
        </p:nvSpPr>
        <p:spPr>
          <a:xfrm>
            <a:off x="7163650" y="5419112"/>
            <a:ext cx="900000" cy="900000"/>
          </a:xfrm>
          <a:prstGeom prst="ellipse">
            <a:avLst/>
          </a:prstGeom>
          <a:solidFill>
            <a:schemeClr val="accent4"/>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全面</a:t>
            </a:r>
            <a:endParaRPr lang="zh-CN" altLang="en-US" b="1">
              <a:solidFill>
                <a:schemeClr val="dk1">
                  <a:lumMod val="85000"/>
                  <a:lumOff val="15000"/>
                </a:schemeClr>
              </a:solidFill>
            </a:endParaRPr>
          </a:p>
        </p:txBody>
      </p:sp>
      <p:sp>
        <p:nvSpPr>
          <p:cNvPr id="9" name="椭圆 8"/>
          <p:cNvSpPr/>
          <p:nvPr>
            <p:custDataLst>
              <p:tags r:id="rId3"/>
            </p:custDataLst>
          </p:nvPr>
        </p:nvSpPr>
        <p:spPr>
          <a:xfrm>
            <a:off x="8406765" y="5419725"/>
            <a:ext cx="900000" cy="900000"/>
          </a:xfrm>
          <a:prstGeom prst="ellipse">
            <a:avLst/>
          </a:prstGeom>
          <a:solidFill>
            <a:schemeClr val="accent5"/>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专业</a:t>
            </a:r>
            <a:endParaRPr lang="zh-CN" altLang="en-US" b="1">
              <a:solidFill>
                <a:schemeClr val="dk1">
                  <a:lumMod val="85000"/>
                  <a:lumOff val="15000"/>
                </a:schemeClr>
              </a:solidFill>
            </a:endParaRPr>
          </a:p>
        </p:txBody>
      </p:sp>
      <p:sp>
        <p:nvSpPr>
          <p:cNvPr id="10" name="椭圆 9"/>
          <p:cNvSpPr/>
          <p:nvPr>
            <p:custDataLst>
              <p:tags r:id="rId4"/>
            </p:custDataLst>
          </p:nvPr>
        </p:nvSpPr>
        <p:spPr>
          <a:xfrm>
            <a:off x="9649880" y="5419112"/>
            <a:ext cx="900000" cy="900000"/>
          </a:xfrm>
          <a:prstGeom prst="ellipse">
            <a:avLst/>
          </a:prstGeom>
          <a:solidFill>
            <a:schemeClr val="accent2"/>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b="1">
                <a:solidFill>
                  <a:schemeClr val="dk1">
                    <a:lumMod val="85000"/>
                    <a:lumOff val="15000"/>
                  </a:schemeClr>
                </a:solidFill>
              </a:rPr>
              <a:t>实用</a:t>
            </a:r>
            <a:endParaRPr lang="zh-CN" altLang="en-US" b="1">
              <a:solidFill>
                <a:schemeClr val="dk1">
                  <a:lumMod val="85000"/>
                  <a:lumOff val="15000"/>
                </a:schemeClr>
              </a:solidFill>
            </a:endParaRPr>
          </a:p>
        </p:txBody>
      </p:sp>
    </p:spTree>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6899910" cy="4246245"/>
          </a:xfrm>
          <a:prstGeom prst="rect">
            <a:avLst/>
          </a:prstGeom>
          <a:noFill/>
        </p:spPr>
        <p:txBody>
          <a:bodyPr wrap="square" rtlCol="0">
            <a:spAutoFit/>
          </a:bodyPr>
          <a:lstStyle/>
          <a:p>
            <a:pPr>
              <a:lnSpc>
                <a:spcPct val="150000"/>
              </a:lnSpc>
            </a:pPr>
            <a:r>
              <a:rPr sz="2000">
                <a:solidFill>
                  <a:schemeClr val="dk1"/>
                </a:solidFill>
              </a:rPr>
              <a:t>（3）在山区，如果连降大雨，容易暴发山洪。遇到这种情况，应该注意避免渡河，以防止被山洪冲走，还要注意防止山体滑坡、滚石、泥石流的伤害。</a:t>
            </a:r>
            <a:endParaRPr sz="2000">
              <a:solidFill>
                <a:schemeClr val="dk1"/>
              </a:solidFill>
            </a:endParaRPr>
          </a:p>
          <a:p>
            <a:pPr>
              <a:lnSpc>
                <a:spcPct val="150000"/>
              </a:lnSpc>
            </a:pPr>
            <a:endParaRPr sz="2000">
              <a:solidFill>
                <a:schemeClr val="dk1"/>
              </a:solidFill>
            </a:endParaRPr>
          </a:p>
          <a:p>
            <a:pPr>
              <a:lnSpc>
                <a:spcPct val="150000"/>
              </a:lnSpc>
            </a:pPr>
            <a:r>
              <a:rPr sz="2000">
                <a:solidFill>
                  <a:schemeClr val="dk1"/>
                </a:solidFill>
              </a:rPr>
              <a:t>（4）发现高压线铁塔倾倒、电线低垂或断折；要远离避险，不可触摸或接近，防止触电。</a:t>
            </a:r>
            <a:endParaRPr sz="2000">
              <a:solidFill>
                <a:schemeClr val="dk1"/>
              </a:solidFill>
            </a:endParaRPr>
          </a:p>
          <a:p>
            <a:pPr>
              <a:lnSpc>
                <a:spcPct val="150000"/>
              </a:lnSpc>
            </a:pPr>
            <a:endParaRPr sz="2000">
              <a:solidFill>
                <a:schemeClr val="dk1"/>
              </a:solidFill>
            </a:endParaRPr>
          </a:p>
          <a:p>
            <a:pPr>
              <a:lnSpc>
                <a:spcPct val="150000"/>
              </a:lnSpc>
            </a:pPr>
            <a:r>
              <a:rPr sz="2000">
                <a:solidFill>
                  <a:schemeClr val="dk1"/>
                </a:solidFill>
              </a:rPr>
              <a:t>（5）洪水过后，要服用预防流行病的药物，做好卫生防疫工作，避免发生传染病。</a:t>
            </a:r>
            <a:endParaRPr sz="2000">
              <a:solidFill>
                <a:schemeClr val="dk1"/>
              </a:solidFill>
            </a:endParaRPr>
          </a:p>
        </p:txBody>
      </p:sp>
      <p:grpSp>
        <p:nvGrpSpPr>
          <p:cNvPr id="23" name="组合 22"/>
          <p:cNvGrpSpPr/>
          <p:nvPr/>
        </p:nvGrpSpPr>
        <p:grpSpPr>
          <a:xfrm>
            <a:off x="9084310" y="1441450"/>
            <a:ext cx="1693545" cy="1533525"/>
            <a:chOff x="12931" y="2270"/>
            <a:chExt cx="4042" cy="3831"/>
          </a:xfrm>
        </p:grpSpPr>
        <p:grpSp>
          <p:nvGrpSpPr>
            <p:cNvPr id="3" name="组合 2"/>
            <p:cNvGrpSpPr/>
            <p:nvPr/>
          </p:nvGrpSpPr>
          <p:grpSpPr>
            <a:xfrm>
              <a:off x="12931" y="2725"/>
              <a:ext cx="3324" cy="3376"/>
              <a:chOff x="12661" y="3081"/>
              <a:chExt cx="4720" cy="5688"/>
            </a:xfrm>
          </p:grpSpPr>
          <p:sp>
            <p:nvSpPr>
              <p:cNvPr id="5" name="任意多边形 4"/>
              <p:cNvSpPr/>
              <p:nvPr>
                <p:custDataLst>
                  <p:tags r:id="rId6"/>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7"/>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任意多边形 6"/>
              <p:cNvSpPr/>
              <p:nvPr>
                <p:custDataLst>
                  <p:tags r:id="rId8"/>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9"/>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0"/>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任意多边形 14"/>
              <p:cNvSpPr/>
              <p:nvPr>
                <p:custDataLst>
                  <p:tags r:id="rId11"/>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12"/>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任意多边形 23"/>
              <p:cNvSpPr/>
              <p:nvPr>
                <p:custDataLst>
                  <p:tags r:id="rId13"/>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14"/>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任意多边形 25"/>
              <p:cNvSpPr/>
              <p:nvPr>
                <p:custDataLst>
                  <p:tags r:id="rId15"/>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16"/>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17"/>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18"/>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任意多边形 30"/>
              <p:cNvSpPr/>
              <p:nvPr>
                <p:custDataLst>
                  <p:tags r:id="rId19"/>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任意多边形 31"/>
              <p:cNvSpPr/>
              <p:nvPr>
                <p:custDataLst>
                  <p:tags r:id="rId20"/>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任意多边形 32"/>
              <p:cNvSpPr/>
              <p:nvPr>
                <p:custDataLst>
                  <p:tags r:id="rId21"/>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0" name="组合 69"/>
            <p:cNvGrpSpPr/>
            <p:nvPr/>
          </p:nvGrpSpPr>
          <p:grpSpPr>
            <a:xfrm>
              <a:off x="15836" y="3560"/>
              <a:ext cx="974" cy="1304"/>
              <a:chOff x="15996" y="7230"/>
              <a:chExt cx="974" cy="1469"/>
            </a:xfrm>
            <a:solidFill>
              <a:schemeClr val="accent2">
                <a:lumMod val="75000"/>
              </a:schemeClr>
            </a:solidFill>
          </p:grpSpPr>
          <p:sp>
            <p:nvSpPr>
              <p:cNvPr id="53" name="椭圆 52"/>
              <p:cNvSpPr/>
              <p:nvPr>
                <p:custDataLst>
                  <p:tags r:id="rId22"/>
                </p:custDataLst>
              </p:nvPr>
            </p:nvSpPr>
            <p:spPr>
              <a:xfrm>
                <a:off x="16221" y="7230"/>
                <a:ext cx="420" cy="480"/>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4" name="任意多边形 53"/>
              <p:cNvSpPr/>
              <p:nvPr>
                <p:custDataLst>
                  <p:tags r:id="rId23"/>
                </p:custDataLst>
              </p:nvPr>
            </p:nvSpPr>
            <p:spPr>
              <a:xfrm>
                <a:off x="15996" y="7725"/>
                <a:ext cx="975" cy="975"/>
              </a:xfrm>
              <a:custGeom>
                <a:avLst/>
                <a:gdLst>
                  <a:gd name="connisteX0" fmla="*/ 0 w 619125"/>
                  <a:gd name="connsiteY0" fmla="*/ 180975 h 619125"/>
                  <a:gd name="connisteX1" fmla="*/ 276225 w 619125"/>
                  <a:gd name="connsiteY1" fmla="*/ 0 h 619125"/>
                  <a:gd name="connisteX2" fmla="*/ 619125 w 619125"/>
                  <a:gd name="connsiteY2" fmla="*/ 161925 h 619125"/>
                  <a:gd name="connisteX3" fmla="*/ 285750 w 619125"/>
                  <a:gd name="connsiteY3" fmla="*/ 9525 h 619125"/>
                  <a:gd name="connisteX4" fmla="*/ 314325 w 619125"/>
                  <a:gd name="connsiteY4" fmla="*/ 285750 h 619125"/>
                  <a:gd name="connisteX5" fmla="*/ 428625 w 619125"/>
                  <a:gd name="connsiteY5" fmla="*/ 371475 h 619125"/>
                  <a:gd name="connisteX6" fmla="*/ 495300 w 619125"/>
                  <a:gd name="connsiteY6" fmla="*/ 495300 h 619125"/>
                  <a:gd name="connisteX7" fmla="*/ 390525 w 619125"/>
                  <a:gd name="connsiteY7" fmla="*/ 390525 h 619125"/>
                  <a:gd name="connisteX8" fmla="*/ 304800 w 619125"/>
                  <a:gd name="connsiteY8" fmla="*/ 295275 h 619125"/>
                  <a:gd name="connisteX9" fmla="*/ 219075 w 619125"/>
                  <a:gd name="connsiteY9" fmla="*/ 400050 h 619125"/>
                  <a:gd name="connisteX10" fmla="*/ 171450 w 619125"/>
                  <a:gd name="connsiteY10" fmla="*/ 619125 h 619125"/>
                  <a:gd name="connisteX11" fmla="*/ 180975 w 619125"/>
                  <a:gd name="connsiteY11" fmla="*/ 409575 h 619125"/>
                  <a:gd name="connisteX12" fmla="*/ 304800 w 619125"/>
                  <a:gd name="connsiteY12" fmla="*/ 266700 h 619125"/>
                  <a:gd name="connisteX13" fmla="*/ 276225 w 619125"/>
                  <a:gd name="connsiteY13" fmla="*/ 28575 h 619125"/>
                  <a:gd name="connisteX14" fmla="*/ 47625 w 619125"/>
                  <a:gd name="connsiteY14" fmla="*/ 161925 h 619125"/>
                  <a:gd name="connisteX15" fmla="*/ 0 w 619125"/>
                  <a:gd name="connsiteY15" fmla="*/ 180975 h 619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619125" h="619125">
                    <a:moveTo>
                      <a:pt x="0" y="180975"/>
                    </a:moveTo>
                    <a:lnTo>
                      <a:pt x="276225" y="0"/>
                    </a:lnTo>
                    <a:lnTo>
                      <a:pt x="619125" y="161925"/>
                    </a:lnTo>
                    <a:lnTo>
                      <a:pt x="285750" y="9525"/>
                    </a:lnTo>
                    <a:lnTo>
                      <a:pt x="314325" y="285750"/>
                    </a:lnTo>
                    <a:lnTo>
                      <a:pt x="428625" y="371475"/>
                    </a:lnTo>
                    <a:lnTo>
                      <a:pt x="495300" y="495300"/>
                    </a:lnTo>
                    <a:lnTo>
                      <a:pt x="390525" y="390525"/>
                    </a:lnTo>
                    <a:lnTo>
                      <a:pt x="304800" y="295275"/>
                    </a:lnTo>
                    <a:lnTo>
                      <a:pt x="219075" y="400050"/>
                    </a:lnTo>
                    <a:lnTo>
                      <a:pt x="171450" y="619125"/>
                    </a:lnTo>
                    <a:lnTo>
                      <a:pt x="180975" y="409575"/>
                    </a:lnTo>
                    <a:lnTo>
                      <a:pt x="304800" y="266700"/>
                    </a:lnTo>
                    <a:lnTo>
                      <a:pt x="276225" y="28575"/>
                    </a:lnTo>
                    <a:lnTo>
                      <a:pt x="47625" y="161925"/>
                    </a:lnTo>
                    <a:lnTo>
                      <a:pt x="0" y="180975"/>
                    </a:lnTo>
                    <a:close/>
                  </a:path>
                </a:pathLst>
              </a:cu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16" name="禁止符 15"/>
            <p:cNvSpPr/>
            <p:nvPr>
              <p:custDataLst>
                <p:tags r:id="rId24"/>
              </p:custDataLst>
            </p:nvPr>
          </p:nvSpPr>
          <p:spPr>
            <a:xfrm>
              <a:off x="13515" y="2270"/>
              <a:ext cx="3458" cy="3458"/>
            </a:xfrm>
            <a:prstGeom prst="noSmoking">
              <a:avLst>
                <a:gd name="adj" fmla="val 423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69" name="组合 68"/>
          <p:cNvGrpSpPr/>
          <p:nvPr/>
        </p:nvGrpSpPr>
        <p:grpSpPr>
          <a:xfrm>
            <a:off x="9157335" y="3064510"/>
            <a:ext cx="1597660" cy="1384300"/>
            <a:chOff x="13173" y="4685"/>
            <a:chExt cx="2516" cy="2180"/>
          </a:xfrm>
        </p:grpSpPr>
        <p:grpSp>
          <p:nvGrpSpPr>
            <p:cNvPr id="39" name="组合 38"/>
            <p:cNvGrpSpPr/>
            <p:nvPr/>
          </p:nvGrpSpPr>
          <p:grpSpPr>
            <a:xfrm>
              <a:off x="13460" y="4936"/>
              <a:ext cx="540" cy="1798"/>
              <a:chOff x="13421" y="4936"/>
              <a:chExt cx="540" cy="1582"/>
            </a:xfrm>
            <a:solidFill>
              <a:schemeClr val="bg2">
                <a:lumMod val="50000"/>
              </a:schemeClr>
            </a:solidFill>
          </p:grpSpPr>
          <p:sp>
            <p:nvSpPr>
              <p:cNvPr id="34" name="梯形 33"/>
              <p:cNvSpPr/>
              <p:nvPr>
                <p:custDataLst>
                  <p:tags r:id="rId25"/>
                </p:custDataLst>
              </p:nvPr>
            </p:nvSpPr>
            <p:spPr>
              <a:xfrm>
                <a:off x="13577" y="4936"/>
                <a:ext cx="229" cy="1583"/>
              </a:xfrm>
              <a:prstGeom prst="trapezoid">
                <a:avLst/>
              </a:prstGeom>
              <a:solidFill>
                <a:schemeClr val="lt2">
                  <a:lumMod val="50000"/>
                </a:scheme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梯形 34"/>
              <p:cNvSpPr/>
              <p:nvPr>
                <p:custDataLst>
                  <p:tags r:id="rId26"/>
                </p:custDataLst>
              </p:nvPr>
            </p:nvSpPr>
            <p:spPr>
              <a:xfrm>
                <a:off x="13421" y="5049"/>
                <a:ext cx="541" cy="57"/>
              </a:xfrm>
              <a:prstGeom prst="trapezoid">
                <a:avLst/>
              </a:prstGeom>
              <a:solidFill>
                <a:schemeClr val="lt2">
                  <a:lumMod val="50000"/>
                </a:scheme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梯形 35"/>
              <p:cNvSpPr/>
              <p:nvPr>
                <p:custDataLst>
                  <p:tags r:id="rId27"/>
                </p:custDataLst>
              </p:nvPr>
            </p:nvSpPr>
            <p:spPr>
              <a:xfrm>
                <a:off x="13421" y="5249"/>
                <a:ext cx="541" cy="57"/>
              </a:xfrm>
              <a:prstGeom prst="trapezoid">
                <a:avLst/>
              </a:prstGeom>
              <a:solidFill>
                <a:schemeClr val="lt2">
                  <a:lumMod val="50000"/>
                </a:schemeClr>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3" name="组合 42"/>
            <p:cNvGrpSpPr/>
            <p:nvPr/>
          </p:nvGrpSpPr>
          <p:grpSpPr>
            <a:xfrm>
              <a:off x="13845" y="5056"/>
              <a:ext cx="1165" cy="761"/>
              <a:chOff x="13845" y="5056"/>
              <a:chExt cx="2183" cy="761"/>
            </a:xfrm>
          </p:grpSpPr>
          <p:sp>
            <p:nvSpPr>
              <p:cNvPr id="40" name="任意多边形 39"/>
              <p:cNvSpPr/>
              <p:nvPr>
                <p:custDataLst>
                  <p:tags r:id="rId28"/>
                </p:custDataLst>
              </p:nvPr>
            </p:nvSpPr>
            <p:spPr>
              <a:xfrm>
                <a:off x="13845" y="5056"/>
                <a:ext cx="2183" cy="585"/>
              </a:xfrm>
              <a:custGeom>
                <a:avLst/>
                <a:gdLst>
                  <a:gd name="connsiteX0" fmla="*/ 0 w 1165"/>
                  <a:gd name="connsiteY0" fmla="*/ 0 h 585"/>
                  <a:gd name="connsiteX1" fmla="*/ 223 w 1165"/>
                  <a:gd name="connsiteY1" fmla="*/ 217 h 585"/>
                  <a:gd name="connsiteX2" fmla="*/ 1165 w 1165"/>
                  <a:gd name="connsiteY2" fmla="*/ 582 h 585"/>
                </a:gdLst>
                <a:ahLst/>
                <a:cxnLst>
                  <a:cxn ang="0">
                    <a:pos x="connsiteX0" y="connsiteY0"/>
                  </a:cxn>
                  <a:cxn ang="0">
                    <a:pos x="connsiteX1" y="connsiteY1"/>
                  </a:cxn>
                  <a:cxn ang="0">
                    <a:pos x="connsiteX2" y="connsiteY2"/>
                  </a:cxn>
                </a:cxnLst>
                <a:rect l="l" t="t" r="r" b="b"/>
                <a:pathLst>
                  <a:path w="1165" h="585">
                    <a:moveTo>
                      <a:pt x="0" y="0"/>
                    </a:moveTo>
                    <a:cubicBezTo>
                      <a:pt x="38" y="47"/>
                      <a:pt x="-107" y="240"/>
                      <a:pt x="223" y="217"/>
                    </a:cubicBezTo>
                    <a:cubicBezTo>
                      <a:pt x="553" y="194"/>
                      <a:pt x="1106" y="625"/>
                      <a:pt x="1165" y="582"/>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任意多边形 40"/>
              <p:cNvSpPr/>
              <p:nvPr>
                <p:custDataLst>
                  <p:tags r:id="rId29"/>
                </p:custDataLst>
              </p:nvPr>
            </p:nvSpPr>
            <p:spPr>
              <a:xfrm>
                <a:off x="13883" y="5288"/>
                <a:ext cx="1964" cy="529"/>
              </a:xfrm>
              <a:custGeom>
                <a:avLst/>
                <a:gdLst>
                  <a:gd name="connsiteX0" fmla="*/ 0 w 1048"/>
                  <a:gd name="connsiteY0" fmla="*/ 0 h 529"/>
                  <a:gd name="connsiteX1" fmla="*/ 191 w 1048"/>
                  <a:gd name="connsiteY1" fmla="*/ 164 h 529"/>
                  <a:gd name="connsiteX2" fmla="*/ 1048 w 1048"/>
                  <a:gd name="connsiteY2" fmla="*/ 529 h 529"/>
                </a:gdLst>
                <a:ahLst/>
                <a:cxnLst>
                  <a:cxn ang="0">
                    <a:pos x="connsiteX0" y="connsiteY0"/>
                  </a:cxn>
                  <a:cxn ang="0">
                    <a:pos x="connsiteX1" y="connsiteY1"/>
                  </a:cxn>
                  <a:cxn ang="0">
                    <a:pos x="connsiteX2" y="connsiteY2"/>
                  </a:cxn>
                </a:cxnLst>
                <a:rect l="l" t="t" r="r" b="b"/>
                <a:pathLst>
                  <a:path w="1048" h="529">
                    <a:moveTo>
                      <a:pt x="0" y="0"/>
                    </a:moveTo>
                    <a:cubicBezTo>
                      <a:pt x="32" y="36"/>
                      <a:pt x="92" y="163"/>
                      <a:pt x="191" y="164"/>
                    </a:cubicBezTo>
                    <a:cubicBezTo>
                      <a:pt x="290" y="165"/>
                      <a:pt x="742" y="312"/>
                      <a:pt x="1048" y="529"/>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5" name="组合 54"/>
            <p:cNvGrpSpPr/>
            <p:nvPr/>
          </p:nvGrpSpPr>
          <p:grpSpPr>
            <a:xfrm>
              <a:off x="13173" y="5049"/>
              <a:ext cx="351" cy="396"/>
              <a:chOff x="13845" y="5056"/>
              <a:chExt cx="1008" cy="396"/>
            </a:xfrm>
          </p:grpSpPr>
          <p:sp>
            <p:nvSpPr>
              <p:cNvPr id="56" name="任意多边形 55"/>
              <p:cNvSpPr/>
              <p:nvPr>
                <p:custDataLst>
                  <p:tags r:id="rId30"/>
                </p:custDataLst>
              </p:nvPr>
            </p:nvSpPr>
            <p:spPr>
              <a:xfrm>
                <a:off x="13845" y="5056"/>
                <a:ext cx="1008" cy="217"/>
              </a:xfrm>
              <a:custGeom>
                <a:avLst/>
                <a:gdLst>
                  <a:gd name="connisteX0" fmla="*/ 0 w 640080"/>
                  <a:gd name="connsiteY0" fmla="*/ 0 h 137869"/>
                  <a:gd name="connisteX1" fmla="*/ 265430 w 640080"/>
                  <a:gd name="connsiteY1" fmla="*/ 137795 h 137869"/>
                  <a:gd name="connisteX2" fmla="*/ 640080 w 640080"/>
                  <a:gd name="connsiteY2" fmla="*/ 14605 h 137869"/>
                </a:gdLst>
                <a:ahLst/>
                <a:cxnLst>
                  <a:cxn ang="0">
                    <a:pos x="connisteX0" y="connsiteY0"/>
                  </a:cxn>
                  <a:cxn ang="0">
                    <a:pos x="connisteX1" y="connsiteY1"/>
                  </a:cxn>
                  <a:cxn ang="0">
                    <a:pos x="connisteX2" y="connsiteY2"/>
                  </a:cxn>
                </a:cxnLst>
                <a:rect l="l" t="t" r="r" b="b"/>
                <a:pathLst>
                  <a:path w="640080" h="137870">
                    <a:moveTo>
                      <a:pt x="0" y="0"/>
                    </a:moveTo>
                    <a:cubicBezTo>
                      <a:pt x="45720" y="29845"/>
                      <a:pt x="137160" y="134620"/>
                      <a:pt x="265430" y="137795"/>
                    </a:cubicBezTo>
                    <a:cubicBezTo>
                      <a:pt x="393700" y="140970"/>
                      <a:pt x="570230" y="41910"/>
                      <a:pt x="640080" y="14605"/>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31"/>
                </p:custDataLst>
              </p:nvPr>
            </p:nvSpPr>
            <p:spPr>
              <a:xfrm>
                <a:off x="13883" y="5288"/>
                <a:ext cx="925" cy="164"/>
              </a:xfrm>
              <a:custGeom>
                <a:avLst/>
                <a:gdLst>
                  <a:gd name="connisteX0" fmla="*/ 0 w 587375"/>
                  <a:gd name="connsiteY0" fmla="*/ 0 h 104143"/>
                  <a:gd name="connisteX1" fmla="*/ 227330 w 587375"/>
                  <a:gd name="connsiteY1" fmla="*/ 104140 h 104143"/>
                  <a:gd name="connisteX2" fmla="*/ 587375 w 587375"/>
                  <a:gd name="connsiteY2" fmla="*/ 4445 h 104143"/>
                </a:gdLst>
                <a:ahLst/>
                <a:cxnLst>
                  <a:cxn ang="0">
                    <a:pos x="connisteX0" y="connsiteY0"/>
                  </a:cxn>
                  <a:cxn ang="0">
                    <a:pos x="connisteX1" y="connsiteY1"/>
                  </a:cxn>
                  <a:cxn ang="0">
                    <a:pos x="connisteX2" y="connsiteY2"/>
                  </a:cxn>
                </a:cxnLst>
                <a:rect l="l" t="t" r="r" b="b"/>
                <a:pathLst>
                  <a:path w="587375" h="104144">
                    <a:moveTo>
                      <a:pt x="0" y="0"/>
                    </a:moveTo>
                    <a:cubicBezTo>
                      <a:pt x="38100" y="22860"/>
                      <a:pt x="109855" y="103505"/>
                      <a:pt x="227330" y="104140"/>
                    </a:cubicBezTo>
                    <a:cubicBezTo>
                      <a:pt x="344805" y="104775"/>
                      <a:pt x="520065" y="26670"/>
                      <a:pt x="587375" y="4445"/>
                    </a:cubicBezTo>
                  </a:path>
                </a:pathLst>
              </a:custGeom>
              <a:noFill/>
              <a:ln>
                <a:solidFill>
                  <a:schemeClr val="dk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8" name="组合 57"/>
            <p:cNvGrpSpPr/>
            <p:nvPr/>
          </p:nvGrpSpPr>
          <p:grpSpPr>
            <a:xfrm rot="2340000">
              <a:off x="14178" y="5243"/>
              <a:ext cx="541" cy="1583"/>
              <a:chOff x="13421" y="4936"/>
              <a:chExt cx="541" cy="1583"/>
            </a:xfrm>
            <a:solidFill>
              <a:schemeClr val="bg2">
                <a:lumMod val="50000"/>
              </a:schemeClr>
            </a:solidFill>
          </p:grpSpPr>
          <p:sp>
            <p:nvSpPr>
              <p:cNvPr id="59" name="梯形 58"/>
              <p:cNvSpPr/>
              <p:nvPr>
                <p:custDataLst>
                  <p:tags r:id="rId32"/>
                </p:custDataLst>
              </p:nvPr>
            </p:nvSpPr>
            <p:spPr>
              <a:xfrm>
                <a:off x="13577" y="4936"/>
                <a:ext cx="229" cy="1029"/>
              </a:xfrm>
              <a:prstGeom prst="trapezoid">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梯形 59"/>
              <p:cNvSpPr/>
              <p:nvPr>
                <p:custDataLst>
                  <p:tags r:id="rId33"/>
                </p:custDataLst>
              </p:nvPr>
            </p:nvSpPr>
            <p:spPr>
              <a:xfrm>
                <a:off x="13421" y="5049"/>
                <a:ext cx="541" cy="57"/>
              </a:xfrm>
              <a:prstGeom prst="trapezoid">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梯形 60"/>
              <p:cNvSpPr/>
              <p:nvPr>
                <p:custDataLst>
                  <p:tags r:id="rId34"/>
                </p:custDataLst>
              </p:nvPr>
            </p:nvSpPr>
            <p:spPr>
              <a:xfrm>
                <a:off x="13421" y="5249"/>
                <a:ext cx="541" cy="57"/>
              </a:xfrm>
              <a:prstGeom prst="trapezoid">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梯形 61"/>
              <p:cNvSpPr/>
              <p:nvPr>
                <p:custDataLst>
                  <p:tags r:id="rId35"/>
                </p:custDataLst>
              </p:nvPr>
            </p:nvSpPr>
            <p:spPr>
              <a:xfrm rot="19380000">
                <a:off x="13552" y="5985"/>
                <a:ext cx="340" cy="534"/>
              </a:xfrm>
              <a:prstGeom prst="trapezoid">
                <a:avLst>
                  <a:gd name="adj" fmla="val 13046"/>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7" name="组合 66"/>
            <p:cNvGrpSpPr/>
            <p:nvPr/>
          </p:nvGrpSpPr>
          <p:grpSpPr>
            <a:xfrm>
              <a:off x="14982" y="6090"/>
              <a:ext cx="479" cy="614"/>
              <a:chOff x="14873" y="5920"/>
              <a:chExt cx="642" cy="815"/>
            </a:xfrm>
          </p:grpSpPr>
          <p:sp>
            <p:nvSpPr>
              <p:cNvPr id="63" name="任意多边形 62"/>
              <p:cNvSpPr/>
              <p:nvPr>
                <p:custDataLst>
                  <p:tags r:id="rId36"/>
                </p:custDataLst>
              </p:nvPr>
            </p:nvSpPr>
            <p:spPr>
              <a:xfrm>
                <a:off x="14873" y="6189"/>
                <a:ext cx="643" cy="546"/>
              </a:xfrm>
              <a:custGeom>
                <a:avLst/>
                <a:gdLst>
                  <a:gd name="connisteX0" fmla="*/ 0 w 619125"/>
                  <a:gd name="connsiteY0" fmla="*/ 180975 h 619125"/>
                  <a:gd name="connisteX1" fmla="*/ 276225 w 619125"/>
                  <a:gd name="connsiteY1" fmla="*/ 0 h 619125"/>
                  <a:gd name="connisteX2" fmla="*/ 619125 w 619125"/>
                  <a:gd name="connsiteY2" fmla="*/ 161925 h 619125"/>
                  <a:gd name="connisteX3" fmla="*/ 285750 w 619125"/>
                  <a:gd name="connsiteY3" fmla="*/ 9525 h 619125"/>
                  <a:gd name="connisteX4" fmla="*/ 314325 w 619125"/>
                  <a:gd name="connsiteY4" fmla="*/ 285750 h 619125"/>
                  <a:gd name="connisteX5" fmla="*/ 428625 w 619125"/>
                  <a:gd name="connsiteY5" fmla="*/ 371475 h 619125"/>
                  <a:gd name="connisteX6" fmla="*/ 495300 w 619125"/>
                  <a:gd name="connsiteY6" fmla="*/ 495300 h 619125"/>
                  <a:gd name="connisteX7" fmla="*/ 390525 w 619125"/>
                  <a:gd name="connsiteY7" fmla="*/ 390525 h 619125"/>
                  <a:gd name="connisteX8" fmla="*/ 304800 w 619125"/>
                  <a:gd name="connsiteY8" fmla="*/ 295275 h 619125"/>
                  <a:gd name="connisteX9" fmla="*/ 219075 w 619125"/>
                  <a:gd name="connsiteY9" fmla="*/ 400050 h 619125"/>
                  <a:gd name="connisteX10" fmla="*/ 171450 w 619125"/>
                  <a:gd name="connsiteY10" fmla="*/ 619125 h 619125"/>
                  <a:gd name="connisteX11" fmla="*/ 180975 w 619125"/>
                  <a:gd name="connsiteY11" fmla="*/ 409575 h 619125"/>
                  <a:gd name="connisteX12" fmla="*/ 304800 w 619125"/>
                  <a:gd name="connsiteY12" fmla="*/ 266700 h 619125"/>
                  <a:gd name="connisteX13" fmla="*/ 276225 w 619125"/>
                  <a:gd name="connsiteY13" fmla="*/ 28575 h 619125"/>
                  <a:gd name="connisteX14" fmla="*/ 47625 w 619125"/>
                  <a:gd name="connsiteY14" fmla="*/ 161925 h 619125"/>
                  <a:gd name="connisteX15" fmla="*/ 0 w 619125"/>
                  <a:gd name="connsiteY15" fmla="*/ 180975 h 619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619125" h="619125">
                    <a:moveTo>
                      <a:pt x="0" y="180975"/>
                    </a:moveTo>
                    <a:lnTo>
                      <a:pt x="276225" y="0"/>
                    </a:lnTo>
                    <a:lnTo>
                      <a:pt x="619125" y="161925"/>
                    </a:lnTo>
                    <a:lnTo>
                      <a:pt x="285750" y="9525"/>
                    </a:lnTo>
                    <a:lnTo>
                      <a:pt x="314325" y="285750"/>
                    </a:lnTo>
                    <a:lnTo>
                      <a:pt x="428625" y="371475"/>
                    </a:lnTo>
                    <a:lnTo>
                      <a:pt x="495300" y="495300"/>
                    </a:lnTo>
                    <a:lnTo>
                      <a:pt x="390525" y="390525"/>
                    </a:lnTo>
                    <a:lnTo>
                      <a:pt x="304800" y="295275"/>
                    </a:lnTo>
                    <a:lnTo>
                      <a:pt x="219075" y="400050"/>
                    </a:lnTo>
                    <a:lnTo>
                      <a:pt x="171450" y="619125"/>
                    </a:lnTo>
                    <a:lnTo>
                      <a:pt x="180975" y="409575"/>
                    </a:lnTo>
                    <a:lnTo>
                      <a:pt x="304800" y="266700"/>
                    </a:lnTo>
                    <a:lnTo>
                      <a:pt x="276225" y="28575"/>
                    </a:lnTo>
                    <a:lnTo>
                      <a:pt x="47625" y="161925"/>
                    </a:lnTo>
                    <a:lnTo>
                      <a:pt x="0" y="180975"/>
                    </a:lnTo>
                    <a:close/>
                  </a:path>
                </a:pathLst>
              </a:cu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椭圆 63"/>
              <p:cNvSpPr/>
              <p:nvPr>
                <p:custDataLst>
                  <p:tags r:id="rId37"/>
                </p:custDataLst>
              </p:nvPr>
            </p:nvSpPr>
            <p:spPr>
              <a:xfrm>
                <a:off x="15026" y="5920"/>
                <a:ext cx="277" cy="269"/>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8" name="禁止符 67"/>
            <p:cNvSpPr/>
            <p:nvPr>
              <p:custDataLst>
                <p:tags r:id="rId38"/>
              </p:custDataLst>
            </p:nvPr>
          </p:nvSpPr>
          <p:spPr>
            <a:xfrm>
              <a:off x="13407" y="4685"/>
              <a:ext cx="2282" cy="2180"/>
            </a:xfrm>
            <a:prstGeom prst="noSmoking">
              <a:avLst>
                <a:gd name="adj" fmla="val 423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87" name="组合 86"/>
          <p:cNvGrpSpPr/>
          <p:nvPr/>
        </p:nvGrpSpPr>
        <p:grpSpPr>
          <a:xfrm>
            <a:off x="9247505" y="5025390"/>
            <a:ext cx="1743710" cy="1252220"/>
            <a:chOff x="14563" y="7914"/>
            <a:chExt cx="2746" cy="1972"/>
          </a:xfrm>
        </p:grpSpPr>
        <p:grpSp>
          <p:nvGrpSpPr>
            <p:cNvPr id="86" name="组合 85"/>
            <p:cNvGrpSpPr/>
            <p:nvPr/>
          </p:nvGrpSpPr>
          <p:grpSpPr>
            <a:xfrm>
              <a:off x="15321" y="7914"/>
              <a:ext cx="1988" cy="1972"/>
              <a:chOff x="15321" y="7797"/>
              <a:chExt cx="1988" cy="1972"/>
            </a:xfrm>
          </p:grpSpPr>
          <p:sp>
            <p:nvSpPr>
              <p:cNvPr id="75" name="同心圆 74"/>
              <p:cNvSpPr/>
              <p:nvPr>
                <p:custDataLst>
                  <p:tags r:id="rId39"/>
                </p:custDataLst>
              </p:nvPr>
            </p:nvSpPr>
            <p:spPr>
              <a:xfrm>
                <a:off x="15321" y="7797"/>
                <a:ext cx="1989" cy="1972"/>
              </a:xfrm>
              <a:prstGeom prst="donut">
                <a:avLst>
                  <a:gd name="adj" fmla="val 6114"/>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nvGrpSpPr>
              <p:cNvPr id="79" name="组合 78"/>
              <p:cNvGrpSpPr/>
              <p:nvPr/>
            </p:nvGrpSpPr>
            <p:grpSpPr>
              <a:xfrm>
                <a:off x="15613" y="8331"/>
                <a:ext cx="1389" cy="1145"/>
                <a:chOff x="12338" y="7966"/>
                <a:chExt cx="1994" cy="2006"/>
              </a:xfrm>
              <a:solidFill>
                <a:srgbClr val="FFC000"/>
              </a:solidFill>
            </p:grpSpPr>
            <p:sp>
              <p:nvSpPr>
                <p:cNvPr id="76" name="等腰三角形 75"/>
                <p:cNvSpPr/>
                <p:nvPr>
                  <p:custDataLst>
                    <p:tags r:id="rId40"/>
                  </p:custDataLst>
                </p:nvPr>
              </p:nvSpPr>
              <p:spPr>
                <a:xfrm>
                  <a:off x="12850" y="8805"/>
                  <a:ext cx="945" cy="116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7" name="等腰三角形 76"/>
                <p:cNvSpPr/>
                <p:nvPr>
                  <p:custDataLst>
                    <p:tags r:id="rId41"/>
                  </p:custDataLst>
                </p:nvPr>
              </p:nvSpPr>
              <p:spPr>
                <a:xfrm rot="7200000">
                  <a:off x="12388" y="7915"/>
                  <a:ext cx="944" cy="104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8" name="等腰三角形 77"/>
                <p:cNvSpPr/>
                <p:nvPr>
                  <p:custDataLst>
                    <p:tags r:id="rId42"/>
                  </p:custDataLst>
                </p:nvPr>
              </p:nvSpPr>
              <p:spPr>
                <a:xfrm rot="14520000">
                  <a:off x="13337" y="7922"/>
                  <a:ext cx="944" cy="1045"/>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85" name="组合 84"/>
            <p:cNvGrpSpPr/>
            <p:nvPr/>
          </p:nvGrpSpPr>
          <p:grpSpPr>
            <a:xfrm>
              <a:off x="14563" y="8159"/>
              <a:ext cx="490" cy="1482"/>
              <a:chOff x="13881" y="8185"/>
              <a:chExt cx="674" cy="1920"/>
            </a:xfrm>
            <a:solidFill>
              <a:schemeClr val="tx1">
                <a:lumMod val="50000"/>
                <a:lumOff val="50000"/>
              </a:schemeClr>
            </a:solidFill>
          </p:grpSpPr>
          <p:sp>
            <p:nvSpPr>
              <p:cNvPr id="80" name="圆角矩形 79"/>
              <p:cNvSpPr/>
              <p:nvPr>
                <p:custDataLst>
                  <p:tags r:id="rId43"/>
                </p:custDataLst>
              </p:nvPr>
            </p:nvSpPr>
            <p:spPr>
              <a:xfrm>
                <a:off x="14007" y="8353"/>
                <a:ext cx="421" cy="1281"/>
              </a:xfrm>
              <a:prstGeom prst="roundRect">
                <a:avLst/>
              </a:prstGeom>
              <a:solidFill>
                <a:schemeClr val="dk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1" name="圆角矩形 80"/>
              <p:cNvSpPr/>
              <p:nvPr>
                <p:custDataLst>
                  <p:tags r:id="rId44"/>
                </p:custDataLst>
              </p:nvPr>
            </p:nvSpPr>
            <p:spPr>
              <a:xfrm>
                <a:off x="14005" y="8185"/>
                <a:ext cx="135" cy="253"/>
              </a:xfrm>
              <a:prstGeom prst="roundRect">
                <a:avLst/>
              </a:prstGeom>
              <a:solidFill>
                <a:schemeClr val="dk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2" name="圆角矩形 81"/>
              <p:cNvSpPr/>
              <p:nvPr>
                <p:custDataLst>
                  <p:tags r:id="rId45"/>
                </p:custDataLst>
              </p:nvPr>
            </p:nvSpPr>
            <p:spPr>
              <a:xfrm>
                <a:off x="13881" y="9569"/>
                <a:ext cx="674" cy="119"/>
              </a:xfrm>
              <a:prstGeom prst="roundRect">
                <a:avLst/>
              </a:prstGeom>
              <a:solidFill>
                <a:schemeClr val="l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3" name="矩形 82"/>
              <p:cNvSpPr/>
              <p:nvPr>
                <p:custDataLst>
                  <p:tags r:id="rId46"/>
                </p:custDataLst>
              </p:nvPr>
            </p:nvSpPr>
            <p:spPr>
              <a:xfrm>
                <a:off x="14142" y="9685"/>
                <a:ext cx="119" cy="371"/>
              </a:xfrm>
              <a:prstGeom prst="rect">
                <a:avLst/>
              </a:prstGeom>
              <a:solidFill>
                <a:schemeClr val="dk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4" name="圆角矩形 83"/>
              <p:cNvSpPr/>
              <p:nvPr>
                <p:custDataLst>
                  <p:tags r:id="rId47"/>
                </p:custDataLst>
              </p:nvPr>
            </p:nvSpPr>
            <p:spPr>
              <a:xfrm>
                <a:off x="13931" y="9985"/>
                <a:ext cx="573" cy="120"/>
              </a:xfrm>
              <a:prstGeom prst="roundRect">
                <a:avLst/>
              </a:prstGeom>
              <a:solidFill>
                <a:schemeClr val="l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88" name="组合 87"/>
          <p:cNvGrpSpPr/>
          <p:nvPr/>
        </p:nvGrpSpPr>
        <p:grpSpPr>
          <a:xfrm>
            <a:off x="607060" y="1111885"/>
            <a:ext cx="3587750" cy="510540"/>
            <a:chOff x="956" y="1751"/>
            <a:chExt cx="5650" cy="804"/>
          </a:xfrm>
        </p:grpSpPr>
        <p:grpSp>
          <p:nvGrpSpPr>
            <p:cNvPr id="89" name="组合 88"/>
            <p:cNvGrpSpPr/>
            <p:nvPr/>
          </p:nvGrpSpPr>
          <p:grpSpPr>
            <a:xfrm>
              <a:off x="956" y="1751"/>
              <a:ext cx="5650" cy="805"/>
              <a:chOff x="2184" y="8192"/>
              <a:chExt cx="6902" cy="1134"/>
            </a:xfrm>
          </p:grpSpPr>
          <p:sp>
            <p:nvSpPr>
              <p:cNvPr id="90" name="六边形 89"/>
              <p:cNvSpPr/>
              <p:nvPr>
                <p:custDataLst>
                  <p:tags r:id="rId48"/>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91" name="燕尾形 90"/>
              <p:cNvSpPr/>
              <p:nvPr>
                <p:custDataLst>
                  <p:tags r:id="rId49"/>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92" name="文本框 91"/>
            <p:cNvSpPr txBox="1"/>
            <p:nvPr>
              <p:custDataLst>
                <p:tags r:id="rId50"/>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洪涝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51"/>
    </p:custDataLst>
  </p:cSld>
  <p:clrMapOvr>
    <a:masterClrMapping/>
  </p:clrMapOvr>
  <p:transition spd="slow">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地震</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492740" cy="4246245"/>
          </a:xfrm>
          <a:prstGeom prst="rect">
            <a:avLst/>
          </a:prstGeom>
          <a:noFill/>
        </p:spPr>
        <p:txBody>
          <a:bodyPr wrap="square" rtlCol="0">
            <a:spAutoFit/>
          </a:bodyPr>
          <a:lstStyle/>
          <a:p>
            <a:pPr>
              <a:lnSpc>
                <a:spcPct val="150000"/>
              </a:lnSpc>
            </a:pPr>
            <a:r>
              <a:rPr sz="2000">
                <a:solidFill>
                  <a:schemeClr val="dk1"/>
                </a:solidFill>
              </a:rPr>
              <a:t>地震——地球的伸展运动，他带给人们的是生命财产与安全的无尽的威胁，是严重的自然灾害，影响国计民生。1906年的旧金山大地震就造成了38万多人间接或直接的伤害，经济损失无以记数。</a:t>
            </a:r>
            <a:endParaRPr sz="2000">
              <a:solidFill>
                <a:schemeClr val="dk1"/>
              </a:solidFill>
            </a:endParaRPr>
          </a:p>
          <a:p>
            <a:pPr>
              <a:lnSpc>
                <a:spcPct val="150000"/>
              </a:lnSpc>
            </a:pPr>
            <a:r>
              <a:rPr sz="2000">
                <a:solidFill>
                  <a:schemeClr val="dk1"/>
                </a:solidFill>
              </a:rPr>
              <a:t>预报地震是地震预防的关键。按距离地震发生时间，预报分为中长期预报、短期预报和震前预报。中长期预报主要通过地震和地质情况的调查研究来实施。短期预报，既要靠地震和地质情况的调查研究，还要靠运用各种监测手段。震前预报主要靠各种监测手段。地震监测主要是利用各种仪器设备去研究岩石中正在发生的各种物理变化。地震仪对微弱震能进行连续记录，分析研究记录，可以推断地震的发震趋势。此外，天气和动物的异常反应，地光、地声的产生，也是地震将到来的预兆。</a:t>
            </a:r>
            <a:endParaRPr sz="2000">
              <a:solidFill>
                <a:schemeClr val="dk1"/>
              </a:solidFill>
            </a:endParaRPr>
          </a:p>
        </p:txBody>
      </p:sp>
    </p:spTree>
    <p:custDataLst>
      <p:tags r:id="rId12"/>
    </p:custDataLst>
  </p:cSld>
  <p:clrMapOvr>
    <a:masterClrMapping/>
  </p:clrMapOvr>
  <p:transition spd="slow">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495665" cy="1938020"/>
          </a:xfrm>
          <a:prstGeom prst="rect">
            <a:avLst/>
          </a:prstGeom>
          <a:noFill/>
        </p:spPr>
        <p:txBody>
          <a:bodyPr wrap="square" rtlCol="0">
            <a:spAutoFit/>
          </a:bodyPr>
          <a:lstStyle/>
          <a:p>
            <a:pPr>
              <a:lnSpc>
                <a:spcPct val="150000"/>
              </a:lnSpc>
            </a:pPr>
            <a:r>
              <a:rPr sz="2000">
                <a:solidFill>
                  <a:schemeClr val="dk1"/>
                </a:solidFill>
              </a:rPr>
              <a:t>（1）如果在平房里，突然发生地震，要迅速钻到床下、桌下，同时用被褥、枕头、脸盆等物护住头部，等地震间隙再尽快离开住房，转移到安全的地方。地震时如果房屋倒塌，应呆在床下或桌下千万不要移动，要等到地震停止再进出室外或等待救援。</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地震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44" name="组合 43"/>
          <p:cNvGrpSpPr/>
          <p:nvPr/>
        </p:nvGrpSpPr>
        <p:grpSpPr>
          <a:xfrm>
            <a:off x="6700520" y="3502660"/>
            <a:ext cx="4618990" cy="2702560"/>
            <a:chOff x="5539" y="6215"/>
            <a:chExt cx="7274" cy="4256"/>
          </a:xfrm>
        </p:grpSpPr>
        <p:grpSp>
          <p:nvGrpSpPr>
            <p:cNvPr id="22" name="组合 21"/>
            <p:cNvGrpSpPr/>
            <p:nvPr/>
          </p:nvGrpSpPr>
          <p:grpSpPr>
            <a:xfrm>
              <a:off x="5767" y="6215"/>
              <a:ext cx="7047" cy="4256"/>
              <a:chOff x="5767" y="6215"/>
              <a:chExt cx="7047" cy="4255"/>
            </a:xfrm>
          </p:grpSpPr>
          <p:sp>
            <p:nvSpPr>
              <p:cNvPr id="16" name="矩形 15"/>
              <p:cNvSpPr/>
              <p:nvPr>
                <p:custDataLst>
                  <p:tags r:id="rId9"/>
                </p:custDataLst>
              </p:nvPr>
            </p:nvSpPr>
            <p:spPr>
              <a:xfrm>
                <a:off x="5767" y="10140"/>
                <a:ext cx="7047" cy="330"/>
              </a:xfrm>
              <a:prstGeom prst="rect">
                <a:avLst/>
              </a:prstGeom>
              <a:solidFill>
                <a:schemeClr val="lt2">
                  <a:lumMod val="50000"/>
                </a:schemeClr>
              </a:solidFill>
              <a:ln>
                <a:noFill/>
              </a:ln>
              <a:scene3d>
                <a:camera prst="perspectiveRelaxed" fov="5400000">
                  <a:rot lat="576000" lon="20400000" rev="0"/>
                </a:camera>
                <a:lightRig rig="threePt" dir="t"/>
              </a:scene3d>
              <a:sp3d extrusionH="6350000">
                <a:extrusionClr>
                  <a:srgbClr val="C8C8C8"/>
                </a:extrusionClr>
                <a:contourClr>
                  <a:srgbClr val="FAFAFA"/>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矩形 14"/>
              <p:cNvSpPr/>
              <p:nvPr>
                <p:custDataLst>
                  <p:tags r:id="rId10"/>
                </p:custDataLst>
              </p:nvPr>
            </p:nvSpPr>
            <p:spPr>
              <a:xfrm>
                <a:off x="11806" y="6215"/>
                <a:ext cx="287" cy="3801"/>
              </a:xfrm>
              <a:prstGeom prst="rect">
                <a:avLst/>
              </a:prstGeom>
              <a:solidFill>
                <a:schemeClr val="lt2">
                  <a:lumMod val="50000"/>
                </a:schemeClr>
              </a:solidFill>
              <a:ln>
                <a:noFill/>
              </a:ln>
              <a:scene3d>
                <a:camera prst="perspectiveRight"/>
                <a:lightRig rig="threePt" dir="t"/>
              </a:scene3d>
              <a:sp3d extrusionH="6350000">
                <a:extrusionClr>
                  <a:srgbClr val="FAFAFA"/>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1" name="组合 40"/>
            <p:cNvGrpSpPr/>
            <p:nvPr/>
          </p:nvGrpSpPr>
          <p:grpSpPr>
            <a:xfrm>
              <a:off x="7276" y="8334"/>
              <a:ext cx="3884" cy="1602"/>
              <a:chOff x="2560" y="7676"/>
              <a:chExt cx="3884" cy="1602"/>
            </a:xfrm>
          </p:grpSpPr>
          <p:sp>
            <p:nvSpPr>
              <p:cNvPr id="38" name="立方体 37"/>
              <p:cNvSpPr/>
              <p:nvPr>
                <p:custDataLst>
                  <p:tags r:id="rId11"/>
                </p:custDataLst>
              </p:nvPr>
            </p:nvSpPr>
            <p:spPr>
              <a:xfrm>
                <a:off x="6095" y="8682"/>
                <a:ext cx="308" cy="596"/>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立方体 38"/>
              <p:cNvSpPr/>
              <p:nvPr>
                <p:custDataLst>
                  <p:tags r:id="rId12"/>
                </p:custDataLst>
              </p:nvPr>
            </p:nvSpPr>
            <p:spPr>
              <a:xfrm>
                <a:off x="3403" y="8682"/>
                <a:ext cx="308" cy="596"/>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立方体 39"/>
              <p:cNvSpPr/>
              <p:nvPr>
                <p:custDataLst>
                  <p:tags r:id="rId13"/>
                </p:custDataLst>
              </p:nvPr>
            </p:nvSpPr>
            <p:spPr>
              <a:xfrm>
                <a:off x="2560" y="8250"/>
                <a:ext cx="308" cy="596"/>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32" name="组合 31"/>
              <p:cNvGrpSpPr/>
              <p:nvPr/>
            </p:nvGrpSpPr>
            <p:grpSpPr>
              <a:xfrm>
                <a:off x="2560" y="7676"/>
                <a:ext cx="3884" cy="1150"/>
                <a:chOff x="7018" y="8580"/>
                <a:chExt cx="3884" cy="1150"/>
              </a:xfrm>
            </p:grpSpPr>
            <p:sp>
              <p:nvSpPr>
                <p:cNvPr id="33" name="任意多边形 32"/>
                <p:cNvSpPr/>
                <p:nvPr>
                  <p:custDataLst>
                    <p:tags r:id="rId14"/>
                  </p:custDataLst>
                </p:nvPr>
              </p:nvSpPr>
              <p:spPr>
                <a:xfrm>
                  <a:off x="7840" y="8682"/>
                  <a:ext cx="3062" cy="1048"/>
                </a:xfrm>
                <a:custGeom>
                  <a:avLst/>
                  <a:gdLst>
                    <a:gd name="connisteX0" fmla="*/ 0 w 1944370"/>
                    <a:gd name="connsiteY0" fmla="*/ 404495 h 665480"/>
                    <a:gd name="connisteX1" fmla="*/ 13335 w 1944370"/>
                    <a:gd name="connsiteY1" fmla="*/ 665480 h 665480"/>
                    <a:gd name="connisteX2" fmla="*/ 1918335 w 1944370"/>
                    <a:gd name="connsiteY2" fmla="*/ 665480 h 665480"/>
                    <a:gd name="connisteX3" fmla="*/ 1944370 w 1944370"/>
                    <a:gd name="connsiteY3" fmla="*/ 0 h 665480"/>
                    <a:gd name="connisteX4" fmla="*/ 1774825 w 1944370"/>
                    <a:gd name="connsiteY4" fmla="*/ 182880 h 665480"/>
                    <a:gd name="connisteX5" fmla="*/ 1761490 w 1944370"/>
                    <a:gd name="connsiteY5" fmla="*/ 469900 h 665480"/>
                    <a:gd name="connisteX6" fmla="*/ 0 w 1944370"/>
                    <a:gd name="connsiteY6" fmla="*/ 404495 h 6654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944370" h="665480">
                      <a:moveTo>
                        <a:pt x="0" y="404495"/>
                      </a:moveTo>
                      <a:lnTo>
                        <a:pt x="13335" y="665480"/>
                      </a:lnTo>
                      <a:lnTo>
                        <a:pt x="1918335" y="665480"/>
                      </a:lnTo>
                      <a:lnTo>
                        <a:pt x="1944370" y="0"/>
                      </a:lnTo>
                      <a:lnTo>
                        <a:pt x="1774825" y="182880"/>
                      </a:lnTo>
                      <a:lnTo>
                        <a:pt x="1761490" y="469900"/>
                      </a:lnTo>
                      <a:lnTo>
                        <a:pt x="0" y="40449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任意多边形 33"/>
                <p:cNvSpPr/>
                <p:nvPr>
                  <p:custDataLst>
                    <p:tags r:id="rId15"/>
                  </p:custDataLst>
                </p:nvPr>
              </p:nvSpPr>
              <p:spPr>
                <a:xfrm>
                  <a:off x="9381" y="8580"/>
                  <a:ext cx="1480" cy="369"/>
                </a:xfrm>
                <a:custGeom>
                  <a:avLst/>
                  <a:gdLst>
                    <a:gd name="connisteX0" fmla="*/ 939800 w 939800"/>
                    <a:gd name="connsiteY0" fmla="*/ 78105 h 234315"/>
                    <a:gd name="connisteX1" fmla="*/ 104775 w 939800"/>
                    <a:gd name="connsiteY1" fmla="*/ 0 h 234315"/>
                    <a:gd name="connisteX2" fmla="*/ 0 w 939800"/>
                    <a:gd name="connsiteY2" fmla="*/ 156210 h 234315"/>
                    <a:gd name="connisteX3" fmla="*/ 782955 w 939800"/>
                    <a:gd name="connsiteY3" fmla="*/ 234315 h 234315"/>
                    <a:gd name="connisteX4" fmla="*/ 939800 w 939800"/>
                    <a:gd name="connsiteY4" fmla="*/ 78105 h 23431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939800" h="234315">
                      <a:moveTo>
                        <a:pt x="939800" y="78105"/>
                      </a:moveTo>
                      <a:lnTo>
                        <a:pt x="104775" y="0"/>
                      </a:lnTo>
                      <a:lnTo>
                        <a:pt x="0" y="156210"/>
                      </a:lnTo>
                      <a:lnTo>
                        <a:pt x="782955" y="234315"/>
                      </a:lnTo>
                      <a:lnTo>
                        <a:pt x="939800" y="7810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任意多边形 34"/>
                <p:cNvSpPr/>
                <p:nvPr>
                  <p:custDataLst>
                    <p:tags r:id="rId16"/>
                  </p:custDataLst>
                </p:nvPr>
              </p:nvSpPr>
              <p:spPr>
                <a:xfrm>
                  <a:off x="9237" y="8846"/>
                  <a:ext cx="1398" cy="595"/>
                </a:xfrm>
                <a:custGeom>
                  <a:avLst/>
                  <a:gdLst>
                    <a:gd name="connisteX0" fmla="*/ 887730 w 887730"/>
                    <a:gd name="connsiteY0" fmla="*/ 78105 h 377825"/>
                    <a:gd name="connisteX1" fmla="*/ 874395 w 887730"/>
                    <a:gd name="connsiteY1" fmla="*/ 377825 h 377825"/>
                    <a:gd name="connisteX2" fmla="*/ 0 w 887730"/>
                    <a:gd name="connsiteY2" fmla="*/ 234315 h 377825"/>
                    <a:gd name="connisteX3" fmla="*/ 52070 w 887730"/>
                    <a:gd name="connsiteY3" fmla="*/ 0 h 377825"/>
                    <a:gd name="connisteX4" fmla="*/ 887730 w 887730"/>
                    <a:gd name="connsiteY4" fmla="*/ 78105 h 3778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887730" h="377825">
                      <a:moveTo>
                        <a:pt x="887730" y="78105"/>
                      </a:moveTo>
                      <a:lnTo>
                        <a:pt x="874395" y="377825"/>
                      </a:lnTo>
                      <a:lnTo>
                        <a:pt x="0" y="234315"/>
                      </a:lnTo>
                      <a:lnTo>
                        <a:pt x="52070" y="0"/>
                      </a:lnTo>
                      <a:lnTo>
                        <a:pt x="887730" y="7810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任意多边形 35"/>
                <p:cNvSpPr/>
                <p:nvPr>
                  <p:custDataLst>
                    <p:tags r:id="rId17"/>
                  </p:custDataLst>
                </p:nvPr>
              </p:nvSpPr>
              <p:spPr>
                <a:xfrm>
                  <a:off x="7100" y="9114"/>
                  <a:ext cx="3493" cy="287"/>
                </a:xfrm>
                <a:custGeom>
                  <a:avLst/>
                  <a:gdLst>
                    <a:gd name="connisteX0" fmla="*/ 483235 w 2218055"/>
                    <a:gd name="connsiteY0" fmla="*/ 130175 h 182245"/>
                    <a:gd name="connisteX1" fmla="*/ 0 w 2218055"/>
                    <a:gd name="connsiteY1" fmla="*/ 0 h 182245"/>
                    <a:gd name="connisteX2" fmla="*/ 1383030 w 2218055"/>
                    <a:gd name="connsiteY2" fmla="*/ 26035 h 182245"/>
                    <a:gd name="connisteX3" fmla="*/ 2218055 w 2218055"/>
                    <a:gd name="connsiteY3" fmla="*/ 182245 h 182245"/>
                    <a:gd name="connisteX4" fmla="*/ 483235 w 2218055"/>
                    <a:gd name="connsiteY4" fmla="*/ 130175 h 18224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218055" h="182245">
                      <a:moveTo>
                        <a:pt x="483235" y="130175"/>
                      </a:moveTo>
                      <a:lnTo>
                        <a:pt x="0" y="0"/>
                      </a:lnTo>
                      <a:lnTo>
                        <a:pt x="1383030" y="26035"/>
                      </a:lnTo>
                      <a:lnTo>
                        <a:pt x="2218055" y="182245"/>
                      </a:lnTo>
                      <a:lnTo>
                        <a:pt x="483235" y="13017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18"/>
                  </p:custDataLst>
                </p:nvPr>
              </p:nvSpPr>
              <p:spPr>
                <a:xfrm>
                  <a:off x="7018" y="9032"/>
                  <a:ext cx="843" cy="698"/>
                </a:xfrm>
                <a:custGeom>
                  <a:avLst/>
                  <a:gdLst>
                    <a:gd name="connisteX0" fmla="*/ 535305 w 535305"/>
                    <a:gd name="connsiteY0" fmla="*/ 443230 h 443230"/>
                    <a:gd name="connisteX1" fmla="*/ 0 w 535305"/>
                    <a:gd name="connsiteY1" fmla="*/ 169545 h 443230"/>
                    <a:gd name="connisteX2" fmla="*/ 26035 w 535305"/>
                    <a:gd name="connsiteY2" fmla="*/ 0 h 443230"/>
                    <a:gd name="connisteX3" fmla="*/ 521970 w 535305"/>
                    <a:gd name="connsiteY3" fmla="*/ 182245 h 443230"/>
                    <a:gd name="connisteX4" fmla="*/ 535305 w 535305"/>
                    <a:gd name="connsiteY4" fmla="*/ 443230 h 44323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535305" h="443230">
                      <a:moveTo>
                        <a:pt x="535305" y="443230"/>
                      </a:moveTo>
                      <a:lnTo>
                        <a:pt x="0" y="169545"/>
                      </a:lnTo>
                      <a:lnTo>
                        <a:pt x="26035" y="0"/>
                      </a:lnTo>
                      <a:lnTo>
                        <a:pt x="521970" y="182245"/>
                      </a:lnTo>
                      <a:lnTo>
                        <a:pt x="535305" y="44323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
          <p:nvSpPr>
            <p:cNvPr id="84" name="任意多边形 83"/>
            <p:cNvSpPr/>
            <p:nvPr>
              <p:custDataLst>
                <p:tags r:id="rId19"/>
              </p:custDataLst>
            </p:nvPr>
          </p:nvSpPr>
          <p:spPr>
            <a:xfrm rot="4980000" flipH="1">
              <a:off x="9900" y="9371"/>
              <a:ext cx="426" cy="63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20"/>
              </p:custDataLst>
            </p:nvPr>
          </p:nvSpPr>
          <p:spPr>
            <a:xfrm>
              <a:off x="5539" y="6586"/>
              <a:ext cx="5856" cy="3226"/>
            </a:xfrm>
            <a:custGeom>
              <a:avLst/>
              <a:gdLst>
                <a:gd name="connisteX0" fmla="*/ 0 w 3718560"/>
                <a:gd name="connsiteY0" fmla="*/ 2048510 h 2048510"/>
                <a:gd name="connisteX1" fmla="*/ 2491740 w 3718560"/>
                <a:gd name="connsiteY1" fmla="*/ 1500505 h 2048510"/>
                <a:gd name="connisteX2" fmla="*/ 3013710 w 3718560"/>
                <a:gd name="connsiteY2" fmla="*/ 652780 h 2048510"/>
                <a:gd name="connisteX3" fmla="*/ 3718560 w 3718560"/>
                <a:gd name="connsiteY3" fmla="*/ 352425 h 2048510"/>
                <a:gd name="connisteX4" fmla="*/ 3470275 w 3718560"/>
                <a:gd name="connsiteY4" fmla="*/ 0 h 2048510"/>
                <a:gd name="connisteX5" fmla="*/ 2505075 w 3718560"/>
                <a:gd name="connsiteY5" fmla="*/ 91440 h 2048510"/>
                <a:gd name="connisteX6" fmla="*/ 1670050 w 3718560"/>
                <a:gd name="connsiteY6" fmla="*/ 939800 h 2048510"/>
                <a:gd name="connisteX7" fmla="*/ 351790 w 3718560"/>
                <a:gd name="connsiteY7" fmla="*/ 1161415 h 2048510"/>
                <a:gd name="connisteX8" fmla="*/ 90805 w 3718560"/>
                <a:gd name="connsiteY8" fmla="*/ 1670685 h 2048510"/>
                <a:gd name="connisteX9" fmla="*/ 0 w 3718560"/>
                <a:gd name="connsiteY9" fmla="*/ 2048510 h 20485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3718560" h="2048510">
                  <a:moveTo>
                    <a:pt x="0" y="2048510"/>
                  </a:moveTo>
                  <a:lnTo>
                    <a:pt x="2491740" y="1500505"/>
                  </a:lnTo>
                  <a:lnTo>
                    <a:pt x="3013710" y="652780"/>
                  </a:lnTo>
                  <a:lnTo>
                    <a:pt x="3718560" y="352425"/>
                  </a:lnTo>
                  <a:lnTo>
                    <a:pt x="3470275" y="0"/>
                  </a:lnTo>
                  <a:lnTo>
                    <a:pt x="2505075" y="91440"/>
                  </a:lnTo>
                  <a:lnTo>
                    <a:pt x="1670050" y="939800"/>
                  </a:lnTo>
                  <a:lnTo>
                    <a:pt x="351790" y="1161415"/>
                  </a:lnTo>
                  <a:lnTo>
                    <a:pt x="90805" y="1670685"/>
                  </a:lnTo>
                  <a:lnTo>
                    <a:pt x="0" y="2048510"/>
                  </a:lnTo>
                  <a:close/>
                </a:path>
              </a:pathLst>
            </a:custGeom>
            <a:solidFill>
              <a:schemeClr val="lt2">
                <a:lumMod val="50000"/>
              </a:schemeClr>
            </a:solidFill>
            <a:ln>
              <a:noFill/>
            </a:ln>
            <a:scene3d>
              <a:camera prst="perspectiveAbove"/>
              <a:lightRig rig="threePt" dir="t"/>
            </a:scene3d>
            <a:sp3d extrusionH="190500">
              <a:extrusionClr>
                <a:srgbClr val="C8C8C8"/>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任意多边形 42"/>
            <p:cNvSpPr/>
            <p:nvPr>
              <p:custDataLst>
                <p:tags r:id="rId21"/>
              </p:custDataLst>
            </p:nvPr>
          </p:nvSpPr>
          <p:spPr>
            <a:xfrm>
              <a:off x="6689" y="9771"/>
              <a:ext cx="1480" cy="535"/>
            </a:xfrm>
            <a:custGeom>
              <a:avLst/>
              <a:gdLst>
                <a:gd name="connisteX0" fmla="*/ 587375 w 939800"/>
                <a:gd name="connsiteY0" fmla="*/ 339725 h 339725"/>
                <a:gd name="connisteX1" fmla="*/ 0 w 939800"/>
                <a:gd name="connsiteY1" fmla="*/ 196215 h 339725"/>
                <a:gd name="connisteX2" fmla="*/ 365760 w 939800"/>
                <a:gd name="connsiteY2" fmla="*/ 0 h 339725"/>
                <a:gd name="connisteX3" fmla="*/ 782955 w 939800"/>
                <a:gd name="connsiteY3" fmla="*/ 39370 h 339725"/>
                <a:gd name="connisteX4" fmla="*/ 939800 w 939800"/>
                <a:gd name="connsiteY4" fmla="*/ 169545 h 339725"/>
                <a:gd name="connisteX5" fmla="*/ 587375 w 939800"/>
                <a:gd name="connsiteY5" fmla="*/ 339725 h 3397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939800" h="339725">
                  <a:moveTo>
                    <a:pt x="587375" y="339725"/>
                  </a:moveTo>
                  <a:lnTo>
                    <a:pt x="0" y="196215"/>
                  </a:lnTo>
                  <a:lnTo>
                    <a:pt x="365760" y="0"/>
                  </a:lnTo>
                  <a:lnTo>
                    <a:pt x="782955" y="39370"/>
                  </a:lnTo>
                  <a:lnTo>
                    <a:pt x="939800" y="169545"/>
                  </a:lnTo>
                  <a:lnTo>
                    <a:pt x="587375" y="339725"/>
                  </a:lnTo>
                  <a:close/>
                </a:path>
              </a:pathLst>
            </a:custGeom>
            <a:solidFill>
              <a:schemeClr val="lt2">
                <a:lumMod val="50000"/>
              </a:schemeClr>
            </a:solidFill>
            <a:ln>
              <a:noFill/>
            </a:ln>
            <a:scene3d>
              <a:camera prst="perspectiveAbove"/>
              <a:lightRig rig="threePt" dir="t"/>
            </a:scene3d>
            <a:sp3d extrusionH="190500">
              <a:extrusionClr>
                <a:srgbClr val="C8C8C8"/>
              </a:extrusionClr>
            </a:sp3d>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lvl="0" algn="ctr">
                <a:buClrTx/>
                <a:buSzTx/>
                <a:buFontTx/>
              </a:pPr>
              <a:endParaRPr lang="zh-CN" altLang="en-US">
                <a:solidFill>
                  <a:schemeClr val="lt1"/>
                </a:solidFill>
                <a:sym typeface="+mn-ea"/>
              </a:endParaRPr>
            </a:p>
          </p:txBody>
        </p:sp>
      </p:grpSp>
    </p:spTree>
    <p:custDataLst>
      <p:tags r:id="rId22"/>
    </p:custData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48370" cy="1938020"/>
          </a:xfrm>
          <a:prstGeom prst="rect">
            <a:avLst/>
          </a:prstGeom>
          <a:noFill/>
        </p:spPr>
        <p:txBody>
          <a:bodyPr wrap="square" rtlCol="0">
            <a:spAutoFit/>
          </a:bodyPr>
          <a:lstStyle/>
          <a:p>
            <a:pPr>
              <a:lnSpc>
                <a:spcPct val="150000"/>
              </a:lnSpc>
            </a:pPr>
            <a:r>
              <a:rPr sz="2000">
                <a:solidFill>
                  <a:schemeClr val="dk1"/>
                </a:solidFill>
              </a:rPr>
              <a:t>（2）如果住在楼房中，发生了地震，不要试图跑出楼外，因为时间来不及。最安全、最有效的办法是，及时躲到两个承重墙之间最小的房间，如厕所、厨房等。也可以躲在桌、柜等家具下面以及房间内侧的墙角，并且注意保护好头部。千万不要去阳台和窗下躲避。</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地震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7" name="组合 6"/>
          <p:cNvGrpSpPr/>
          <p:nvPr/>
        </p:nvGrpSpPr>
        <p:grpSpPr>
          <a:xfrm>
            <a:off x="5470525" y="3361055"/>
            <a:ext cx="6016625" cy="3081020"/>
            <a:chOff x="1773" y="5827"/>
            <a:chExt cx="9475" cy="4852"/>
          </a:xfrm>
        </p:grpSpPr>
        <p:sp>
          <p:nvSpPr>
            <p:cNvPr id="6" name="任意多边形 5"/>
            <p:cNvSpPr/>
            <p:nvPr>
              <p:custDataLst>
                <p:tags r:id="rId9"/>
              </p:custDataLst>
            </p:nvPr>
          </p:nvSpPr>
          <p:spPr>
            <a:xfrm>
              <a:off x="1773" y="8193"/>
              <a:ext cx="8687" cy="2486"/>
            </a:xfrm>
            <a:custGeom>
              <a:avLst/>
              <a:gdLst>
                <a:gd name="connsiteX0" fmla="*/ 4639 w 8687"/>
                <a:gd name="connsiteY0" fmla="*/ 0 h 2486"/>
                <a:gd name="connsiteX1" fmla="*/ 8137 w 8687"/>
                <a:gd name="connsiteY1" fmla="*/ 1434 h 2486"/>
                <a:gd name="connsiteX2" fmla="*/ 8055 w 8687"/>
                <a:gd name="connsiteY2" fmla="*/ 1619 h 2486"/>
                <a:gd name="connsiteX3" fmla="*/ 8687 w 8687"/>
                <a:gd name="connsiteY3" fmla="*/ 1870 h 2486"/>
                <a:gd name="connsiteX4" fmla="*/ 7413 w 8687"/>
                <a:gd name="connsiteY4" fmla="*/ 1849 h 2486"/>
                <a:gd name="connsiteX5" fmla="*/ 7454 w 8687"/>
                <a:gd name="connsiteY5" fmla="*/ 2343 h 2486"/>
                <a:gd name="connsiteX6" fmla="*/ 6632 w 8687"/>
                <a:gd name="connsiteY6" fmla="*/ 2219 h 2486"/>
                <a:gd name="connsiteX7" fmla="*/ 4906 w 8687"/>
                <a:gd name="connsiteY7" fmla="*/ 2486 h 2486"/>
                <a:gd name="connsiteX8" fmla="*/ 1310 w 8687"/>
                <a:gd name="connsiteY8" fmla="*/ 2363 h 2486"/>
                <a:gd name="connsiteX9" fmla="*/ 653 w 8687"/>
                <a:gd name="connsiteY9" fmla="*/ 1623 h 2486"/>
                <a:gd name="connsiteX10" fmla="*/ 0 w 8687"/>
                <a:gd name="connsiteY10" fmla="*/ 962 h 2486"/>
                <a:gd name="connsiteX11" fmla="*/ 4639 w 8687"/>
                <a:gd name="connsiteY11" fmla="*/ 0 h 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87" h="2486">
                  <a:moveTo>
                    <a:pt x="4639" y="0"/>
                  </a:moveTo>
                  <a:lnTo>
                    <a:pt x="8137" y="1434"/>
                  </a:lnTo>
                  <a:lnTo>
                    <a:pt x="8055" y="1619"/>
                  </a:lnTo>
                  <a:lnTo>
                    <a:pt x="8687" y="1870"/>
                  </a:lnTo>
                  <a:lnTo>
                    <a:pt x="7413" y="1849"/>
                  </a:lnTo>
                  <a:lnTo>
                    <a:pt x="7454" y="2343"/>
                  </a:lnTo>
                  <a:lnTo>
                    <a:pt x="6632" y="2219"/>
                  </a:lnTo>
                  <a:lnTo>
                    <a:pt x="4906" y="2486"/>
                  </a:lnTo>
                  <a:lnTo>
                    <a:pt x="1310" y="2363"/>
                  </a:lnTo>
                  <a:lnTo>
                    <a:pt x="653" y="1623"/>
                  </a:lnTo>
                  <a:lnTo>
                    <a:pt x="0" y="962"/>
                  </a:lnTo>
                  <a:lnTo>
                    <a:pt x="4639" y="0"/>
                  </a:lnTo>
                  <a:close/>
                </a:path>
              </a:pathLst>
            </a:custGeom>
            <a:solidFill>
              <a:schemeClr val="accent1"/>
            </a:solidFill>
            <a:ln>
              <a:noFill/>
            </a:ln>
            <a:scene3d>
              <a:camera prst="perspectiveAbove"/>
              <a:lightRig rig="threePt" dir="t"/>
            </a:scene3d>
            <a:sp3d extrusionH="254000" contourW="12700">
              <a:extrusionClr>
                <a:srgbClr val="BEBEBE"/>
              </a:extrusionClr>
              <a:contourClr>
                <a:schemeClr val="tx1">
                  <a:lumMod val="75000"/>
                  <a:lumOff val="2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 name="任意多边形 1"/>
            <p:cNvSpPr/>
            <p:nvPr>
              <p:custDataLst>
                <p:tags r:id="rId10"/>
              </p:custDataLst>
            </p:nvPr>
          </p:nvSpPr>
          <p:spPr>
            <a:xfrm>
              <a:off x="3345" y="5867"/>
              <a:ext cx="3309" cy="2980"/>
            </a:xfrm>
            <a:custGeom>
              <a:avLst/>
              <a:gdLst>
                <a:gd name="connisteX0" fmla="*/ 234950 w 2101215"/>
                <a:gd name="connsiteY0" fmla="*/ 1892300 h 1892300"/>
                <a:gd name="connisteX1" fmla="*/ 2061845 w 2101215"/>
                <a:gd name="connsiteY1" fmla="*/ 1565910 h 1892300"/>
                <a:gd name="connisteX2" fmla="*/ 2101215 w 2101215"/>
                <a:gd name="connsiteY2" fmla="*/ 0 h 1892300"/>
                <a:gd name="connisteX3" fmla="*/ 222250 w 2101215"/>
                <a:gd name="connsiteY3" fmla="*/ 300355 h 1892300"/>
                <a:gd name="connisteX4" fmla="*/ 0 w 2101215"/>
                <a:gd name="connsiteY4" fmla="*/ 796290 h 1892300"/>
                <a:gd name="connisteX5" fmla="*/ 196215 w 2101215"/>
                <a:gd name="connsiteY5" fmla="*/ 939800 h 1892300"/>
                <a:gd name="connisteX6" fmla="*/ 52705 w 2101215"/>
                <a:gd name="connsiteY6" fmla="*/ 1266190 h 1892300"/>
                <a:gd name="connisteX7" fmla="*/ 222250 w 2101215"/>
                <a:gd name="connsiteY7" fmla="*/ 1435735 h 1892300"/>
                <a:gd name="connisteX8" fmla="*/ 117475 w 2101215"/>
                <a:gd name="connsiteY8" fmla="*/ 1631315 h 1892300"/>
                <a:gd name="connisteX9" fmla="*/ 234950 w 2101215"/>
                <a:gd name="connsiteY9" fmla="*/ 1892300 h 18923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2101215" h="1892300">
                  <a:moveTo>
                    <a:pt x="234950" y="1892300"/>
                  </a:moveTo>
                  <a:lnTo>
                    <a:pt x="2061845" y="1565910"/>
                  </a:lnTo>
                  <a:lnTo>
                    <a:pt x="2101215" y="0"/>
                  </a:lnTo>
                  <a:lnTo>
                    <a:pt x="222250" y="300355"/>
                  </a:lnTo>
                  <a:lnTo>
                    <a:pt x="0" y="796290"/>
                  </a:lnTo>
                  <a:lnTo>
                    <a:pt x="196215" y="939800"/>
                  </a:lnTo>
                  <a:lnTo>
                    <a:pt x="52705" y="1266190"/>
                  </a:lnTo>
                  <a:lnTo>
                    <a:pt x="222250" y="1435735"/>
                  </a:lnTo>
                  <a:lnTo>
                    <a:pt x="117475" y="1631315"/>
                  </a:lnTo>
                  <a:lnTo>
                    <a:pt x="234950" y="1892300"/>
                  </a:lnTo>
                  <a:close/>
                </a:path>
              </a:pathLst>
            </a:custGeom>
            <a:solidFill>
              <a:schemeClr val="accent1"/>
            </a:solidFill>
            <a:ln>
              <a:noFill/>
            </a:ln>
            <a:scene3d>
              <a:camera prst="perspectiveRigh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1"/>
              </p:custDataLst>
            </p:nvPr>
          </p:nvSpPr>
          <p:spPr>
            <a:xfrm>
              <a:off x="6152" y="5827"/>
              <a:ext cx="5096" cy="3801"/>
            </a:xfrm>
            <a:custGeom>
              <a:avLst/>
              <a:gdLst>
                <a:gd name="connsiteX0" fmla="*/ 0 w 5096"/>
                <a:gd name="connsiteY0" fmla="*/ 2486 h 3801"/>
                <a:gd name="connsiteX1" fmla="*/ 3555 w 5096"/>
                <a:gd name="connsiteY1" fmla="*/ 3801 h 3801"/>
                <a:gd name="connsiteX2" fmla="*/ 3884 w 5096"/>
                <a:gd name="connsiteY2" fmla="*/ 3555 h 3801"/>
                <a:gd name="connsiteX3" fmla="*/ 3863 w 5096"/>
                <a:gd name="connsiteY3" fmla="*/ 3185 h 3801"/>
                <a:gd name="connsiteX4" fmla="*/ 5096 w 5096"/>
                <a:gd name="connsiteY4" fmla="*/ 2733 h 3801"/>
                <a:gd name="connsiteX5" fmla="*/ 4479 w 5096"/>
                <a:gd name="connsiteY5" fmla="*/ 2075 h 3801"/>
                <a:gd name="connsiteX6" fmla="*/ 4993 w 5096"/>
                <a:gd name="connsiteY6" fmla="*/ 1356 h 3801"/>
                <a:gd name="connsiteX7" fmla="*/ 4459 w 5096"/>
                <a:gd name="connsiteY7" fmla="*/ 1335 h 3801"/>
                <a:gd name="connsiteX8" fmla="*/ 4705 w 5096"/>
                <a:gd name="connsiteY8" fmla="*/ 822 h 3801"/>
                <a:gd name="connsiteX9" fmla="*/ 62 w 5096"/>
                <a:gd name="connsiteY9" fmla="*/ 0 h 3801"/>
                <a:gd name="connsiteX10" fmla="*/ 0 w 5096"/>
                <a:gd name="connsiteY10" fmla="*/ 2486 h 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6" h="3801">
                  <a:moveTo>
                    <a:pt x="0" y="2486"/>
                  </a:moveTo>
                  <a:lnTo>
                    <a:pt x="3555" y="3801"/>
                  </a:lnTo>
                  <a:lnTo>
                    <a:pt x="3884" y="3555"/>
                  </a:lnTo>
                  <a:lnTo>
                    <a:pt x="3863" y="3185"/>
                  </a:lnTo>
                  <a:lnTo>
                    <a:pt x="5096" y="2733"/>
                  </a:lnTo>
                  <a:lnTo>
                    <a:pt x="4479" y="2075"/>
                  </a:lnTo>
                  <a:lnTo>
                    <a:pt x="4993" y="1356"/>
                  </a:lnTo>
                  <a:lnTo>
                    <a:pt x="4459" y="1335"/>
                  </a:lnTo>
                  <a:lnTo>
                    <a:pt x="4705" y="822"/>
                  </a:lnTo>
                  <a:lnTo>
                    <a:pt x="62" y="0"/>
                  </a:lnTo>
                  <a:lnTo>
                    <a:pt x="0" y="2486"/>
                  </a:lnTo>
                  <a:close/>
                </a:path>
              </a:pathLst>
            </a:custGeom>
            <a:solidFill>
              <a:schemeClr val="accent1"/>
            </a:solidFill>
            <a:ln>
              <a:noFill/>
            </a:ln>
            <a:scene3d>
              <a:camera prst="perspectiveLef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7" name="组合 16"/>
          <p:cNvGrpSpPr/>
          <p:nvPr/>
        </p:nvGrpSpPr>
        <p:grpSpPr>
          <a:xfrm>
            <a:off x="8058150" y="4451350"/>
            <a:ext cx="1195070" cy="972820"/>
            <a:chOff x="12690" y="7010"/>
            <a:chExt cx="1882" cy="1532"/>
          </a:xfrm>
        </p:grpSpPr>
        <p:grpSp>
          <p:nvGrpSpPr>
            <p:cNvPr id="15" name="组合 14"/>
            <p:cNvGrpSpPr/>
            <p:nvPr/>
          </p:nvGrpSpPr>
          <p:grpSpPr>
            <a:xfrm>
              <a:off x="12690" y="7010"/>
              <a:ext cx="1882" cy="1532"/>
              <a:chOff x="7543" y="6948"/>
              <a:chExt cx="1882" cy="1532"/>
            </a:xfrm>
            <a:solidFill>
              <a:schemeClr val="tx2">
                <a:lumMod val="20000"/>
                <a:lumOff val="80000"/>
              </a:schemeClr>
            </a:solidFill>
          </p:grpSpPr>
          <p:sp>
            <p:nvSpPr>
              <p:cNvPr id="8" name="圆角矩形 7"/>
              <p:cNvSpPr/>
              <p:nvPr>
                <p:custDataLst>
                  <p:tags r:id="rId12"/>
                </p:custDataLst>
              </p:nvPr>
            </p:nvSpPr>
            <p:spPr>
              <a:xfrm>
                <a:off x="7608" y="7408"/>
                <a:ext cx="1171" cy="555"/>
              </a:xfrm>
              <a:prstGeom prst="roundRect">
                <a:avLst>
                  <a:gd name="adj" fmla="val 50000"/>
                </a:avLst>
              </a:prstGeom>
              <a:solidFill>
                <a:schemeClr val="dk2"/>
              </a:solidFill>
              <a:ln>
                <a:solidFill>
                  <a:schemeClr val="l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3"/>
                </p:custDataLst>
              </p:nvPr>
            </p:nvSpPr>
            <p:spPr>
              <a:xfrm>
                <a:off x="7543" y="6948"/>
                <a:ext cx="1882" cy="1533"/>
              </a:xfrm>
              <a:custGeom>
                <a:avLst/>
                <a:gdLst>
                  <a:gd name="connisteX0" fmla="*/ 2296 w 1194953"/>
                  <a:gd name="connsiteY0" fmla="*/ 488236 h 973432"/>
                  <a:gd name="connisteX1" fmla="*/ 158506 w 1194953"/>
                  <a:gd name="connsiteY1" fmla="*/ 853361 h 973432"/>
                  <a:gd name="connisteX2" fmla="*/ 367421 w 1194953"/>
                  <a:gd name="connsiteY2" fmla="*/ 931466 h 973432"/>
                  <a:gd name="connisteX3" fmla="*/ 406791 w 1194953"/>
                  <a:gd name="connsiteY3" fmla="*/ 970836 h 973432"/>
                  <a:gd name="connisteX4" fmla="*/ 785251 w 1194953"/>
                  <a:gd name="connsiteY4" fmla="*/ 944801 h 973432"/>
                  <a:gd name="connisteX5" fmla="*/ 797951 w 1194953"/>
                  <a:gd name="connsiteY5" fmla="*/ 787956 h 973432"/>
                  <a:gd name="connisteX6" fmla="*/ 785251 w 1194953"/>
                  <a:gd name="connsiteY6" fmla="*/ 331391 h 973432"/>
                  <a:gd name="connisteX7" fmla="*/ 797951 w 1194953"/>
                  <a:gd name="connsiteY7" fmla="*/ 109776 h 973432"/>
                  <a:gd name="connisteX8" fmla="*/ 902726 w 1194953"/>
                  <a:gd name="connsiteY8" fmla="*/ 5001 h 973432"/>
                  <a:gd name="connisteX9" fmla="*/ 1150376 w 1194953"/>
                  <a:gd name="connsiteY9" fmla="*/ 70406 h 973432"/>
                  <a:gd name="connisteX10" fmla="*/ 1111006 w 1194953"/>
                  <a:gd name="connsiteY10" fmla="*/ 213916 h 973432"/>
                  <a:gd name="connisteX11" fmla="*/ 837321 w 1194953"/>
                  <a:gd name="connsiteY11" fmla="*/ 200581 h 973432"/>
                  <a:gd name="connisteX12" fmla="*/ 785251 w 1194953"/>
                  <a:gd name="connsiteY12" fmla="*/ 148511 h 973432"/>
                  <a:gd name="connisteX13" fmla="*/ 902726 w 1194953"/>
                  <a:gd name="connsiteY13" fmla="*/ 213916 h 973432"/>
                  <a:gd name="connisteX14" fmla="*/ 1019566 w 1194953"/>
                  <a:gd name="connsiteY14" fmla="*/ 213916 h 973432"/>
                  <a:gd name="connisteX15" fmla="*/ 1189746 w 1194953"/>
                  <a:gd name="connsiteY15" fmla="*/ 148511 h 973432"/>
                  <a:gd name="connisteX16" fmla="*/ 1137041 w 1194953"/>
                  <a:gd name="connsiteY16" fmla="*/ 239951 h 973432"/>
                  <a:gd name="connisteX17" fmla="*/ 1124341 w 1194953"/>
                  <a:gd name="connsiteY17" fmla="*/ 644446 h 973432"/>
                  <a:gd name="connisteX18" fmla="*/ 1124341 w 1194953"/>
                  <a:gd name="connsiteY18" fmla="*/ 801291 h 973432"/>
                  <a:gd name="connisteX19" fmla="*/ 837321 w 1194953"/>
                  <a:gd name="connsiteY19" fmla="*/ 918766 h 973432"/>
                  <a:gd name="connisteX20" fmla="*/ 1058936 w 1194953"/>
                  <a:gd name="connsiteY20" fmla="*/ 853361 h 973432"/>
                  <a:gd name="connisteX21" fmla="*/ 1163711 w 1194953"/>
                  <a:gd name="connsiteY21" fmla="*/ 761921 h 973432"/>
                  <a:gd name="connisteX22" fmla="*/ 1163711 w 1194953"/>
                  <a:gd name="connsiteY22" fmla="*/ 148511 h 973432"/>
                  <a:gd name="connisteX23" fmla="*/ 1098306 w 1194953"/>
                  <a:gd name="connsiteY23" fmla="*/ 18336 h 973432"/>
                  <a:gd name="connisteX24" fmla="*/ 928761 w 1194953"/>
                  <a:gd name="connsiteY24" fmla="*/ 5001 h 973432"/>
                  <a:gd name="connisteX25" fmla="*/ 797951 w 1194953"/>
                  <a:gd name="connsiteY25" fmla="*/ 31036 h 973432"/>
                  <a:gd name="connisteX26" fmla="*/ 785251 w 1194953"/>
                  <a:gd name="connsiteY26" fmla="*/ 174546 h 973432"/>
                  <a:gd name="connisteX27" fmla="*/ 785251 w 1194953"/>
                  <a:gd name="connsiteY27" fmla="*/ 461566 h 973432"/>
                  <a:gd name="connisteX28" fmla="*/ 771916 w 1194953"/>
                  <a:gd name="connsiteY28" fmla="*/ 579041 h 973432"/>
                  <a:gd name="connisteX29" fmla="*/ 654441 w 1194953"/>
                  <a:gd name="connsiteY29" fmla="*/ 631746 h 973432"/>
                  <a:gd name="connisteX30" fmla="*/ 315351 w 1194953"/>
                  <a:gd name="connsiteY30" fmla="*/ 644446 h 973432"/>
                  <a:gd name="connisteX31" fmla="*/ 93736 w 1194953"/>
                  <a:gd name="connsiteY31" fmla="*/ 644446 h 973432"/>
                  <a:gd name="connisteX32" fmla="*/ 2296 w 1194953"/>
                  <a:gd name="connsiteY32" fmla="*/ 488236 h 97343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Lst>
                <a:rect l="l" t="t" r="r" b="b"/>
                <a:pathLst>
                  <a:path w="1194954" h="973432">
                    <a:moveTo>
                      <a:pt x="2297" y="488237"/>
                    </a:moveTo>
                    <a:cubicBezTo>
                      <a:pt x="14997" y="530147"/>
                      <a:pt x="85482" y="764462"/>
                      <a:pt x="158507" y="853362"/>
                    </a:cubicBezTo>
                    <a:cubicBezTo>
                      <a:pt x="231532" y="942262"/>
                      <a:pt x="317892" y="907972"/>
                      <a:pt x="367422" y="931467"/>
                    </a:cubicBezTo>
                    <a:cubicBezTo>
                      <a:pt x="416952" y="954962"/>
                      <a:pt x="322972" y="968297"/>
                      <a:pt x="406792" y="970837"/>
                    </a:cubicBezTo>
                    <a:cubicBezTo>
                      <a:pt x="490612" y="973377"/>
                      <a:pt x="707147" y="981632"/>
                      <a:pt x="785252" y="944802"/>
                    </a:cubicBezTo>
                    <a:cubicBezTo>
                      <a:pt x="863357" y="907972"/>
                      <a:pt x="797952" y="910512"/>
                      <a:pt x="797952" y="787957"/>
                    </a:cubicBezTo>
                    <a:cubicBezTo>
                      <a:pt x="797952" y="665402"/>
                      <a:pt x="785252" y="467282"/>
                      <a:pt x="785252" y="331392"/>
                    </a:cubicBezTo>
                    <a:cubicBezTo>
                      <a:pt x="785252" y="195502"/>
                      <a:pt x="774457" y="175182"/>
                      <a:pt x="797952" y="109777"/>
                    </a:cubicBezTo>
                    <a:cubicBezTo>
                      <a:pt x="821447" y="44372"/>
                      <a:pt x="832242" y="12622"/>
                      <a:pt x="902727" y="5002"/>
                    </a:cubicBezTo>
                    <a:cubicBezTo>
                      <a:pt x="973212" y="-2618"/>
                      <a:pt x="1108467" y="28497"/>
                      <a:pt x="1150377" y="70407"/>
                    </a:cubicBezTo>
                    <a:cubicBezTo>
                      <a:pt x="1192287" y="112317"/>
                      <a:pt x="1173872" y="187882"/>
                      <a:pt x="1111007" y="213917"/>
                    </a:cubicBezTo>
                    <a:cubicBezTo>
                      <a:pt x="1048142" y="239952"/>
                      <a:pt x="902727" y="213917"/>
                      <a:pt x="837322" y="200582"/>
                    </a:cubicBezTo>
                    <a:cubicBezTo>
                      <a:pt x="771917" y="187247"/>
                      <a:pt x="771917" y="145972"/>
                      <a:pt x="785252" y="148512"/>
                    </a:cubicBezTo>
                    <a:cubicBezTo>
                      <a:pt x="798587" y="151052"/>
                      <a:pt x="855737" y="200582"/>
                      <a:pt x="902727" y="213917"/>
                    </a:cubicBezTo>
                    <a:cubicBezTo>
                      <a:pt x="949717" y="227252"/>
                      <a:pt x="962417" y="227252"/>
                      <a:pt x="1019567" y="213917"/>
                    </a:cubicBezTo>
                    <a:cubicBezTo>
                      <a:pt x="1076717" y="200582"/>
                      <a:pt x="1166252" y="143432"/>
                      <a:pt x="1189747" y="148512"/>
                    </a:cubicBezTo>
                    <a:cubicBezTo>
                      <a:pt x="1213242" y="153592"/>
                      <a:pt x="1150377" y="140892"/>
                      <a:pt x="1137042" y="239952"/>
                    </a:cubicBezTo>
                    <a:cubicBezTo>
                      <a:pt x="1123707" y="339012"/>
                      <a:pt x="1126882" y="532052"/>
                      <a:pt x="1124342" y="644447"/>
                    </a:cubicBezTo>
                    <a:cubicBezTo>
                      <a:pt x="1121802" y="756842"/>
                      <a:pt x="1181492" y="746682"/>
                      <a:pt x="1124342" y="801292"/>
                    </a:cubicBezTo>
                    <a:cubicBezTo>
                      <a:pt x="1067192" y="855902"/>
                      <a:pt x="850657" y="908607"/>
                      <a:pt x="837322" y="918767"/>
                    </a:cubicBezTo>
                    <a:cubicBezTo>
                      <a:pt x="823987" y="928927"/>
                      <a:pt x="993532" y="884477"/>
                      <a:pt x="1058937" y="853362"/>
                    </a:cubicBezTo>
                    <a:cubicBezTo>
                      <a:pt x="1124342" y="822247"/>
                      <a:pt x="1142757" y="902892"/>
                      <a:pt x="1163712" y="761922"/>
                    </a:cubicBezTo>
                    <a:cubicBezTo>
                      <a:pt x="1184667" y="620952"/>
                      <a:pt x="1177047" y="297102"/>
                      <a:pt x="1163712" y="148512"/>
                    </a:cubicBezTo>
                    <a:cubicBezTo>
                      <a:pt x="1150377" y="-78"/>
                      <a:pt x="1145297" y="46912"/>
                      <a:pt x="1098307" y="18337"/>
                    </a:cubicBezTo>
                    <a:cubicBezTo>
                      <a:pt x="1051317" y="-10238"/>
                      <a:pt x="989087" y="2462"/>
                      <a:pt x="928762" y="5002"/>
                    </a:cubicBezTo>
                    <a:cubicBezTo>
                      <a:pt x="868437" y="7542"/>
                      <a:pt x="826527" y="-2618"/>
                      <a:pt x="797952" y="31037"/>
                    </a:cubicBezTo>
                    <a:cubicBezTo>
                      <a:pt x="769377" y="64692"/>
                      <a:pt x="787792" y="88187"/>
                      <a:pt x="785252" y="174547"/>
                    </a:cubicBezTo>
                    <a:cubicBezTo>
                      <a:pt x="782712" y="260907"/>
                      <a:pt x="787792" y="380922"/>
                      <a:pt x="785252" y="461567"/>
                    </a:cubicBezTo>
                    <a:cubicBezTo>
                      <a:pt x="782712" y="542212"/>
                      <a:pt x="797952" y="544752"/>
                      <a:pt x="771917" y="579042"/>
                    </a:cubicBezTo>
                    <a:cubicBezTo>
                      <a:pt x="745882" y="613332"/>
                      <a:pt x="745882" y="618412"/>
                      <a:pt x="654442" y="631747"/>
                    </a:cubicBezTo>
                    <a:cubicBezTo>
                      <a:pt x="563002" y="645082"/>
                      <a:pt x="427747" y="641907"/>
                      <a:pt x="315352" y="644447"/>
                    </a:cubicBezTo>
                    <a:cubicBezTo>
                      <a:pt x="202957" y="646987"/>
                      <a:pt x="156602" y="675562"/>
                      <a:pt x="93737" y="644447"/>
                    </a:cubicBezTo>
                    <a:cubicBezTo>
                      <a:pt x="30872" y="613332"/>
                      <a:pt x="-10403" y="446327"/>
                      <a:pt x="2297" y="488237"/>
                    </a:cubicBezTo>
                    <a:close/>
                  </a:path>
                </a:pathLst>
              </a:custGeom>
              <a:solidFill>
                <a:schemeClr val="dk2"/>
              </a:solidFill>
              <a:ln>
                <a:solidFill>
                  <a:schemeClr val="l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16" name="任意多边形 15"/>
            <p:cNvSpPr/>
            <p:nvPr>
              <p:custDataLst>
                <p:tags r:id="rId14"/>
              </p:custDataLst>
            </p:nvPr>
          </p:nvSpPr>
          <p:spPr>
            <a:xfrm>
              <a:off x="13886" y="7191"/>
              <a:ext cx="606" cy="1337"/>
            </a:xfrm>
            <a:custGeom>
              <a:avLst/>
              <a:gdLst>
                <a:gd name="connisteX0" fmla="*/ 58535 w 384863"/>
                <a:gd name="connsiteY0" fmla="*/ 777285 h 849025"/>
                <a:gd name="connisteX1" fmla="*/ 32500 w 384863"/>
                <a:gd name="connsiteY1" fmla="*/ 46400 h 849025"/>
                <a:gd name="connisteX2" fmla="*/ 123940 w 384863"/>
                <a:gd name="connsiteY2" fmla="*/ 111805 h 849025"/>
                <a:gd name="connisteX3" fmla="*/ 358890 w 384863"/>
                <a:gd name="connsiteY3" fmla="*/ 59735 h 849025"/>
                <a:gd name="connisteX4" fmla="*/ 345555 w 384863"/>
                <a:gd name="connsiteY4" fmla="*/ 255315 h 849025"/>
                <a:gd name="connisteX5" fmla="*/ 358890 w 384863"/>
                <a:gd name="connsiteY5" fmla="*/ 633775 h 849025"/>
                <a:gd name="connisteX6" fmla="*/ 19800 w 384863"/>
                <a:gd name="connsiteY6" fmla="*/ 777285 h 849025"/>
                <a:gd name="connisteX7" fmla="*/ 58535 w 384863"/>
                <a:gd name="connsiteY7" fmla="*/ 777285 h 8490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84864" h="849026">
                  <a:moveTo>
                    <a:pt x="58536" y="777286"/>
                  </a:moveTo>
                  <a:cubicBezTo>
                    <a:pt x="61076" y="631236"/>
                    <a:pt x="19166" y="179751"/>
                    <a:pt x="32501" y="46401"/>
                  </a:cubicBezTo>
                  <a:cubicBezTo>
                    <a:pt x="45836" y="-86949"/>
                    <a:pt x="58536" y="109266"/>
                    <a:pt x="123941" y="111806"/>
                  </a:cubicBezTo>
                  <a:cubicBezTo>
                    <a:pt x="189346" y="114346"/>
                    <a:pt x="314441" y="31161"/>
                    <a:pt x="358891" y="59736"/>
                  </a:cubicBezTo>
                  <a:cubicBezTo>
                    <a:pt x="403341" y="88311"/>
                    <a:pt x="345556" y="140381"/>
                    <a:pt x="345556" y="255316"/>
                  </a:cubicBezTo>
                  <a:cubicBezTo>
                    <a:pt x="345556" y="370251"/>
                    <a:pt x="424296" y="529636"/>
                    <a:pt x="358891" y="633776"/>
                  </a:cubicBezTo>
                  <a:cubicBezTo>
                    <a:pt x="293486" y="737916"/>
                    <a:pt x="80126" y="748711"/>
                    <a:pt x="19801" y="777286"/>
                  </a:cubicBezTo>
                  <a:cubicBezTo>
                    <a:pt x="-40524" y="805861"/>
                    <a:pt x="55996" y="923336"/>
                    <a:pt x="58536" y="777286"/>
                  </a:cubicBezTo>
                  <a:close/>
                </a:path>
              </a:pathLst>
            </a:custGeom>
            <a:solidFill>
              <a:schemeClr val="dk2"/>
            </a:solidFill>
            <a:ln>
              <a:solidFill>
                <a:schemeClr val="l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84" name="任意多边形 83"/>
          <p:cNvSpPr/>
          <p:nvPr>
            <p:custDataLst>
              <p:tags r:id="rId15"/>
            </p:custDataLst>
          </p:nvPr>
        </p:nvSpPr>
        <p:spPr>
          <a:xfrm rot="20880000" flipH="1">
            <a:off x="7269480" y="4285615"/>
            <a:ext cx="741680" cy="92583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16"/>
    </p:custData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1476375"/>
          </a:xfrm>
          <a:prstGeom prst="rect">
            <a:avLst/>
          </a:prstGeom>
          <a:noFill/>
        </p:spPr>
        <p:txBody>
          <a:bodyPr wrap="square" rtlCol="0">
            <a:spAutoFit/>
          </a:bodyPr>
          <a:lstStyle/>
          <a:p>
            <a:pPr>
              <a:lnSpc>
                <a:spcPct val="150000"/>
              </a:lnSpc>
            </a:pPr>
            <a:r>
              <a:rPr sz="2000">
                <a:solidFill>
                  <a:schemeClr val="dk1"/>
                </a:solidFill>
              </a:rPr>
              <a:t>（3）如果正在上课时发生了地震，不要惊慌失措，更不能在教室内乱跑或争抢外出。靠近门的同学可以迅速跑到门外，中间及后排的同学可以尽快躲到课桌下，用书包护住头部；靠墙的同学要紧靠墙根，双手护住头部。</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地震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7" name="组合 6"/>
          <p:cNvGrpSpPr/>
          <p:nvPr/>
        </p:nvGrpSpPr>
        <p:grpSpPr>
          <a:xfrm>
            <a:off x="5470525" y="3361055"/>
            <a:ext cx="6016625" cy="3081020"/>
            <a:chOff x="1773" y="5827"/>
            <a:chExt cx="9475" cy="4852"/>
          </a:xfrm>
        </p:grpSpPr>
        <p:sp>
          <p:nvSpPr>
            <p:cNvPr id="6" name="任意多边形 5"/>
            <p:cNvSpPr/>
            <p:nvPr>
              <p:custDataLst>
                <p:tags r:id="rId9"/>
              </p:custDataLst>
            </p:nvPr>
          </p:nvSpPr>
          <p:spPr>
            <a:xfrm>
              <a:off x="1773" y="8193"/>
              <a:ext cx="8687" cy="2486"/>
            </a:xfrm>
            <a:custGeom>
              <a:avLst/>
              <a:gdLst>
                <a:gd name="connsiteX0" fmla="*/ 4639 w 8687"/>
                <a:gd name="connsiteY0" fmla="*/ 0 h 2486"/>
                <a:gd name="connsiteX1" fmla="*/ 8137 w 8687"/>
                <a:gd name="connsiteY1" fmla="*/ 1434 h 2486"/>
                <a:gd name="connsiteX2" fmla="*/ 8055 w 8687"/>
                <a:gd name="connsiteY2" fmla="*/ 1619 h 2486"/>
                <a:gd name="connsiteX3" fmla="*/ 8687 w 8687"/>
                <a:gd name="connsiteY3" fmla="*/ 1870 h 2486"/>
                <a:gd name="connsiteX4" fmla="*/ 7413 w 8687"/>
                <a:gd name="connsiteY4" fmla="*/ 1849 h 2486"/>
                <a:gd name="connsiteX5" fmla="*/ 7454 w 8687"/>
                <a:gd name="connsiteY5" fmla="*/ 2343 h 2486"/>
                <a:gd name="connsiteX6" fmla="*/ 6632 w 8687"/>
                <a:gd name="connsiteY6" fmla="*/ 2219 h 2486"/>
                <a:gd name="connsiteX7" fmla="*/ 4906 w 8687"/>
                <a:gd name="connsiteY7" fmla="*/ 2486 h 2486"/>
                <a:gd name="connsiteX8" fmla="*/ 1310 w 8687"/>
                <a:gd name="connsiteY8" fmla="*/ 2363 h 2486"/>
                <a:gd name="connsiteX9" fmla="*/ 653 w 8687"/>
                <a:gd name="connsiteY9" fmla="*/ 1623 h 2486"/>
                <a:gd name="connsiteX10" fmla="*/ 0 w 8687"/>
                <a:gd name="connsiteY10" fmla="*/ 962 h 2486"/>
                <a:gd name="connsiteX11" fmla="*/ 4639 w 8687"/>
                <a:gd name="connsiteY11" fmla="*/ 0 h 2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87" h="2486">
                  <a:moveTo>
                    <a:pt x="4639" y="0"/>
                  </a:moveTo>
                  <a:lnTo>
                    <a:pt x="8137" y="1434"/>
                  </a:lnTo>
                  <a:lnTo>
                    <a:pt x="8055" y="1619"/>
                  </a:lnTo>
                  <a:lnTo>
                    <a:pt x="8687" y="1870"/>
                  </a:lnTo>
                  <a:lnTo>
                    <a:pt x="7413" y="1849"/>
                  </a:lnTo>
                  <a:lnTo>
                    <a:pt x="7454" y="2343"/>
                  </a:lnTo>
                  <a:lnTo>
                    <a:pt x="6632" y="2219"/>
                  </a:lnTo>
                  <a:lnTo>
                    <a:pt x="4906" y="2486"/>
                  </a:lnTo>
                  <a:lnTo>
                    <a:pt x="1310" y="2363"/>
                  </a:lnTo>
                  <a:lnTo>
                    <a:pt x="653" y="1623"/>
                  </a:lnTo>
                  <a:lnTo>
                    <a:pt x="0" y="962"/>
                  </a:lnTo>
                  <a:lnTo>
                    <a:pt x="4639" y="0"/>
                  </a:lnTo>
                  <a:close/>
                </a:path>
              </a:pathLst>
            </a:custGeom>
            <a:solidFill>
              <a:schemeClr val="accent1"/>
            </a:solidFill>
            <a:ln>
              <a:noFill/>
            </a:ln>
            <a:scene3d>
              <a:camera prst="perspectiveAbove"/>
              <a:lightRig rig="threePt" dir="t"/>
            </a:scene3d>
            <a:sp3d extrusionH="254000" contourW="12700">
              <a:extrusionClr>
                <a:srgbClr val="BEBEBE"/>
              </a:extrusionClr>
              <a:contourClr>
                <a:schemeClr val="tx1">
                  <a:lumMod val="75000"/>
                  <a:lumOff val="25000"/>
                </a:schemeClr>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 name="任意多边形 1"/>
            <p:cNvSpPr/>
            <p:nvPr>
              <p:custDataLst>
                <p:tags r:id="rId10"/>
              </p:custDataLst>
            </p:nvPr>
          </p:nvSpPr>
          <p:spPr>
            <a:xfrm>
              <a:off x="3345" y="5867"/>
              <a:ext cx="3309" cy="2980"/>
            </a:xfrm>
            <a:custGeom>
              <a:avLst/>
              <a:gdLst>
                <a:gd name="connisteX0" fmla="*/ 234950 w 2101215"/>
                <a:gd name="connsiteY0" fmla="*/ 1892300 h 1892300"/>
                <a:gd name="connisteX1" fmla="*/ 2061845 w 2101215"/>
                <a:gd name="connsiteY1" fmla="*/ 1565910 h 1892300"/>
                <a:gd name="connisteX2" fmla="*/ 2101215 w 2101215"/>
                <a:gd name="connsiteY2" fmla="*/ 0 h 1892300"/>
                <a:gd name="connisteX3" fmla="*/ 222250 w 2101215"/>
                <a:gd name="connsiteY3" fmla="*/ 300355 h 1892300"/>
                <a:gd name="connisteX4" fmla="*/ 0 w 2101215"/>
                <a:gd name="connsiteY4" fmla="*/ 796290 h 1892300"/>
                <a:gd name="connisteX5" fmla="*/ 196215 w 2101215"/>
                <a:gd name="connsiteY5" fmla="*/ 939800 h 1892300"/>
                <a:gd name="connisteX6" fmla="*/ 52705 w 2101215"/>
                <a:gd name="connsiteY6" fmla="*/ 1266190 h 1892300"/>
                <a:gd name="connisteX7" fmla="*/ 222250 w 2101215"/>
                <a:gd name="connsiteY7" fmla="*/ 1435735 h 1892300"/>
                <a:gd name="connisteX8" fmla="*/ 117475 w 2101215"/>
                <a:gd name="connsiteY8" fmla="*/ 1631315 h 1892300"/>
                <a:gd name="connisteX9" fmla="*/ 234950 w 2101215"/>
                <a:gd name="connsiteY9" fmla="*/ 1892300 h 18923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2101215" h="1892300">
                  <a:moveTo>
                    <a:pt x="234950" y="1892300"/>
                  </a:moveTo>
                  <a:lnTo>
                    <a:pt x="2061845" y="1565910"/>
                  </a:lnTo>
                  <a:lnTo>
                    <a:pt x="2101215" y="0"/>
                  </a:lnTo>
                  <a:lnTo>
                    <a:pt x="222250" y="300355"/>
                  </a:lnTo>
                  <a:lnTo>
                    <a:pt x="0" y="796290"/>
                  </a:lnTo>
                  <a:lnTo>
                    <a:pt x="196215" y="939800"/>
                  </a:lnTo>
                  <a:lnTo>
                    <a:pt x="52705" y="1266190"/>
                  </a:lnTo>
                  <a:lnTo>
                    <a:pt x="222250" y="1435735"/>
                  </a:lnTo>
                  <a:lnTo>
                    <a:pt x="117475" y="1631315"/>
                  </a:lnTo>
                  <a:lnTo>
                    <a:pt x="234950" y="1892300"/>
                  </a:lnTo>
                  <a:close/>
                </a:path>
              </a:pathLst>
            </a:custGeom>
            <a:solidFill>
              <a:schemeClr val="accent1"/>
            </a:solidFill>
            <a:ln>
              <a:noFill/>
            </a:ln>
            <a:scene3d>
              <a:camera prst="perspectiveRigh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1"/>
              </p:custDataLst>
            </p:nvPr>
          </p:nvSpPr>
          <p:spPr>
            <a:xfrm>
              <a:off x="6152" y="5827"/>
              <a:ext cx="5096" cy="3801"/>
            </a:xfrm>
            <a:custGeom>
              <a:avLst/>
              <a:gdLst>
                <a:gd name="connsiteX0" fmla="*/ 0 w 5096"/>
                <a:gd name="connsiteY0" fmla="*/ 2486 h 3801"/>
                <a:gd name="connsiteX1" fmla="*/ 3555 w 5096"/>
                <a:gd name="connsiteY1" fmla="*/ 3801 h 3801"/>
                <a:gd name="connsiteX2" fmla="*/ 3884 w 5096"/>
                <a:gd name="connsiteY2" fmla="*/ 3555 h 3801"/>
                <a:gd name="connsiteX3" fmla="*/ 3863 w 5096"/>
                <a:gd name="connsiteY3" fmla="*/ 3185 h 3801"/>
                <a:gd name="connsiteX4" fmla="*/ 5096 w 5096"/>
                <a:gd name="connsiteY4" fmla="*/ 2733 h 3801"/>
                <a:gd name="connsiteX5" fmla="*/ 4479 w 5096"/>
                <a:gd name="connsiteY5" fmla="*/ 2075 h 3801"/>
                <a:gd name="connsiteX6" fmla="*/ 4993 w 5096"/>
                <a:gd name="connsiteY6" fmla="*/ 1356 h 3801"/>
                <a:gd name="connsiteX7" fmla="*/ 4459 w 5096"/>
                <a:gd name="connsiteY7" fmla="*/ 1335 h 3801"/>
                <a:gd name="connsiteX8" fmla="*/ 4705 w 5096"/>
                <a:gd name="connsiteY8" fmla="*/ 822 h 3801"/>
                <a:gd name="connsiteX9" fmla="*/ 62 w 5096"/>
                <a:gd name="connsiteY9" fmla="*/ 0 h 3801"/>
                <a:gd name="connsiteX10" fmla="*/ 0 w 5096"/>
                <a:gd name="connsiteY10" fmla="*/ 2486 h 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96" h="3801">
                  <a:moveTo>
                    <a:pt x="0" y="2486"/>
                  </a:moveTo>
                  <a:lnTo>
                    <a:pt x="3555" y="3801"/>
                  </a:lnTo>
                  <a:lnTo>
                    <a:pt x="3884" y="3555"/>
                  </a:lnTo>
                  <a:lnTo>
                    <a:pt x="3863" y="3185"/>
                  </a:lnTo>
                  <a:lnTo>
                    <a:pt x="5096" y="2733"/>
                  </a:lnTo>
                  <a:lnTo>
                    <a:pt x="4479" y="2075"/>
                  </a:lnTo>
                  <a:lnTo>
                    <a:pt x="4993" y="1356"/>
                  </a:lnTo>
                  <a:lnTo>
                    <a:pt x="4459" y="1335"/>
                  </a:lnTo>
                  <a:lnTo>
                    <a:pt x="4705" y="822"/>
                  </a:lnTo>
                  <a:lnTo>
                    <a:pt x="62" y="0"/>
                  </a:lnTo>
                  <a:lnTo>
                    <a:pt x="0" y="2486"/>
                  </a:lnTo>
                  <a:close/>
                </a:path>
              </a:pathLst>
            </a:custGeom>
            <a:solidFill>
              <a:schemeClr val="accent1"/>
            </a:solidFill>
            <a:ln>
              <a:noFill/>
            </a:ln>
            <a:scene3d>
              <a:camera prst="perspectiveLeft"/>
              <a:lightRig rig="threePt" dir="t"/>
            </a:scene3d>
            <a:sp3d extrusionH="254000">
              <a:extrusionClr>
                <a:srgbClr val="BEBEBE"/>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84" name="任意多边形 83"/>
          <p:cNvSpPr/>
          <p:nvPr>
            <p:custDataLst>
              <p:tags r:id="rId12"/>
            </p:custDataLst>
          </p:nvPr>
        </p:nvSpPr>
        <p:spPr>
          <a:xfrm rot="20880000" flipH="1">
            <a:off x="7759065" y="4981575"/>
            <a:ext cx="570230" cy="73152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0" name="组合 19"/>
          <p:cNvGrpSpPr/>
          <p:nvPr/>
        </p:nvGrpSpPr>
        <p:grpSpPr>
          <a:xfrm>
            <a:off x="6942647" y="4493260"/>
            <a:ext cx="2509880" cy="1392555"/>
            <a:chOff x="10338" y="7076"/>
            <a:chExt cx="4548" cy="2193"/>
          </a:xfrm>
        </p:grpSpPr>
        <p:grpSp>
          <p:nvGrpSpPr>
            <p:cNvPr id="18" name="组合 17"/>
            <p:cNvGrpSpPr/>
            <p:nvPr/>
          </p:nvGrpSpPr>
          <p:grpSpPr>
            <a:xfrm>
              <a:off x="10338" y="7076"/>
              <a:ext cx="3743" cy="2193"/>
              <a:chOff x="10338" y="6976"/>
              <a:chExt cx="3743" cy="2193"/>
            </a:xfrm>
          </p:grpSpPr>
          <p:sp>
            <p:nvSpPr>
              <p:cNvPr id="14" name="立方体 13"/>
              <p:cNvSpPr/>
              <p:nvPr>
                <p:custDataLst>
                  <p:tags r:id="rId13"/>
                </p:custDataLst>
              </p:nvPr>
            </p:nvSpPr>
            <p:spPr>
              <a:xfrm>
                <a:off x="11703" y="7669"/>
                <a:ext cx="247" cy="1500"/>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立方体 14"/>
              <p:cNvSpPr/>
              <p:nvPr>
                <p:custDataLst>
                  <p:tags r:id="rId14"/>
                </p:custDataLst>
              </p:nvPr>
            </p:nvSpPr>
            <p:spPr>
              <a:xfrm>
                <a:off x="13834" y="7202"/>
                <a:ext cx="247" cy="1500"/>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6" name="立方体 15"/>
              <p:cNvSpPr/>
              <p:nvPr>
                <p:custDataLst>
                  <p:tags r:id="rId15"/>
                </p:custDataLst>
              </p:nvPr>
            </p:nvSpPr>
            <p:spPr>
              <a:xfrm>
                <a:off x="12747" y="6976"/>
                <a:ext cx="247" cy="1130"/>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7" name="立方体 16"/>
              <p:cNvSpPr/>
              <p:nvPr>
                <p:custDataLst>
                  <p:tags r:id="rId16"/>
                </p:custDataLst>
              </p:nvPr>
            </p:nvSpPr>
            <p:spPr>
              <a:xfrm>
                <a:off x="10338" y="7365"/>
                <a:ext cx="247" cy="1111"/>
              </a:xfrm>
              <a:prstGeom prst="cube">
                <a:avLst/>
              </a:pr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19" name="矩形 18"/>
            <p:cNvSpPr/>
            <p:nvPr>
              <p:custDataLst>
                <p:tags r:id="rId17"/>
              </p:custDataLst>
            </p:nvPr>
          </p:nvSpPr>
          <p:spPr>
            <a:xfrm>
              <a:off x="11167" y="7632"/>
              <a:ext cx="3719" cy="165"/>
            </a:xfrm>
            <a:prstGeom prst="rect">
              <a:avLst/>
            </a:prstGeom>
            <a:solidFill>
              <a:schemeClr val="accent1"/>
            </a:solidFill>
            <a:ln>
              <a:solidFill>
                <a:schemeClr val="accent1">
                  <a:shade val="50000"/>
                </a:schemeClr>
              </a:solidFill>
            </a:ln>
            <a:scene3d>
              <a:camera prst="perspectiveAbove">
                <a:rot lat="900000" lon="19800000" rev="0"/>
              </a:camera>
              <a:lightRig rig="threePt" dir="t"/>
            </a:scene3d>
            <a:sp3d extrusionH="190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18"/>
    </p:custData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任意多边形 6"/>
          <p:cNvSpPr/>
          <p:nvPr>
            <p:custDataLst>
              <p:tags r:id="rId1"/>
            </p:custDataLst>
          </p:nvPr>
        </p:nvSpPr>
        <p:spPr>
          <a:xfrm>
            <a:off x="6658610" y="3691890"/>
            <a:ext cx="5193030" cy="2426970"/>
          </a:xfrm>
          <a:custGeom>
            <a:avLst/>
            <a:gdLst>
              <a:gd name="connisteX0" fmla="*/ 0 w 5193030"/>
              <a:gd name="connsiteY0" fmla="*/ 2426970 h 2426970"/>
              <a:gd name="connisteX1" fmla="*/ 574040 w 5193030"/>
              <a:gd name="connsiteY1" fmla="*/ 2426970 h 2426970"/>
              <a:gd name="connisteX2" fmla="*/ 574040 w 5193030"/>
              <a:gd name="connsiteY2" fmla="*/ 1826260 h 2426970"/>
              <a:gd name="connisteX3" fmla="*/ 861060 w 5193030"/>
              <a:gd name="connsiteY3" fmla="*/ 1826260 h 2426970"/>
              <a:gd name="connisteX4" fmla="*/ 861060 w 5193030"/>
              <a:gd name="connsiteY4" fmla="*/ 2426970 h 2426970"/>
              <a:gd name="connisteX5" fmla="*/ 1187450 w 5193030"/>
              <a:gd name="connsiteY5" fmla="*/ 2413635 h 2426970"/>
              <a:gd name="connisteX6" fmla="*/ 1174115 w 5193030"/>
              <a:gd name="connsiteY6" fmla="*/ 1617980 h 2426970"/>
              <a:gd name="connisteX7" fmla="*/ 1422400 w 5193030"/>
              <a:gd name="connsiteY7" fmla="*/ 1604645 h 2426970"/>
              <a:gd name="connisteX8" fmla="*/ 1435100 w 5193030"/>
              <a:gd name="connsiteY8" fmla="*/ 1148080 h 2426970"/>
              <a:gd name="connisteX9" fmla="*/ 1787525 w 5193030"/>
              <a:gd name="connsiteY9" fmla="*/ 1134745 h 2426970"/>
              <a:gd name="connisteX10" fmla="*/ 1787525 w 5193030"/>
              <a:gd name="connsiteY10" fmla="*/ 1604645 h 2426970"/>
              <a:gd name="connisteX11" fmla="*/ 1892300 w 5193030"/>
              <a:gd name="connsiteY11" fmla="*/ 1604645 h 2426970"/>
              <a:gd name="connisteX12" fmla="*/ 1892300 w 5193030"/>
              <a:gd name="connsiteY12" fmla="*/ 2400300 h 2426970"/>
              <a:gd name="connisteX13" fmla="*/ 2270125 w 5193030"/>
              <a:gd name="connsiteY13" fmla="*/ 2387600 h 2426970"/>
              <a:gd name="connisteX14" fmla="*/ 2035810 w 5193030"/>
              <a:gd name="connsiteY14" fmla="*/ 2387600 h 2426970"/>
              <a:gd name="connisteX15" fmla="*/ 2035810 w 5193030"/>
              <a:gd name="connsiteY15" fmla="*/ 600075 h 2426970"/>
              <a:gd name="connisteX16" fmla="*/ 2518410 w 5193030"/>
              <a:gd name="connsiteY16" fmla="*/ 0 h 2426970"/>
              <a:gd name="connisteX17" fmla="*/ 2622550 w 5193030"/>
              <a:gd name="connsiteY17" fmla="*/ 117475 h 2426970"/>
              <a:gd name="connisteX18" fmla="*/ 2635885 w 5193030"/>
              <a:gd name="connsiteY18" fmla="*/ 2348230 h 2426970"/>
              <a:gd name="connisteX19" fmla="*/ 2727325 w 5193030"/>
              <a:gd name="connsiteY19" fmla="*/ 2348230 h 2426970"/>
              <a:gd name="connisteX20" fmla="*/ 2740025 w 5193030"/>
              <a:gd name="connsiteY20" fmla="*/ 717550 h 2426970"/>
              <a:gd name="connisteX21" fmla="*/ 2883535 w 5193030"/>
              <a:gd name="connsiteY21" fmla="*/ 756285 h 2426970"/>
              <a:gd name="connisteX22" fmla="*/ 3131820 w 5193030"/>
              <a:gd name="connsiteY22" fmla="*/ 1330325 h 2426970"/>
              <a:gd name="connisteX23" fmla="*/ 3144520 w 5193030"/>
              <a:gd name="connsiteY23" fmla="*/ 2374265 h 2426970"/>
              <a:gd name="connisteX24" fmla="*/ 3209925 w 5193030"/>
              <a:gd name="connsiteY24" fmla="*/ 2361565 h 2426970"/>
              <a:gd name="connisteX25" fmla="*/ 3209925 w 5193030"/>
              <a:gd name="connsiteY25" fmla="*/ 1917700 h 2426970"/>
              <a:gd name="connisteX26" fmla="*/ 3314065 w 5193030"/>
              <a:gd name="connsiteY26" fmla="*/ 1917700 h 2426970"/>
              <a:gd name="connisteX27" fmla="*/ 3222625 w 5193030"/>
              <a:gd name="connsiteY27" fmla="*/ 1852295 h 2426970"/>
              <a:gd name="connisteX28" fmla="*/ 3183890 w 5193030"/>
              <a:gd name="connsiteY28" fmla="*/ 1644015 h 2426970"/>
              <a:gd name="connisteX29" fmla="*/ 3235960 w 5193030"/>
              <a:gd name="connsiteY29" fmla="*/ 1461135 h 2426970"/>
              <a:gd name="connisteX30" fmla="*/ 3457575 w 5193030"/>
              <a:gd name="connsiteY30" fmla="*/ 1369695 h 2426970"/>
              <a:gd name="connisteX31" fmla="*/ 3640455 w 5193030"/>
              <a:gd name="connsiteY31" fmla="*/ 1421765 h 2426970"/>
              <a:gd name="connisteX32" fmla="*/ 3731895 w 5193030"/>
              <a:gd name="connsiteY32" fmla="*/ 1539240 h 2426970"/>
              <a:gd name="connisteX33" fmla="*/ 3705860 w 5193030"/>
              <a:gd name="connsiteY33" fmla="*/ 1787525 h 2426970"/>
              <a:gd name="connisteX34" fmla="*/ 3666490 w 5193030"/>
              <a:gd name="connsiteY34" fmla="*/ 1839595 h 2426970"/>
              <a:gd name="connisteX35" fmla="*/ 3536315 w 5193030"/>
              <a:gd name="connsiteY35" fmla="*/ 1931035 h 2426970"/>
              <a:gd name="connisteX36" fmla="*/ 3692525 w 5193030"/>
              <a:gd name="connsiteY36" fmla="*/ 1905000 h 2426970"/>
              <a:gd name="connisteX37" fmla="*/ 3718560 w 5193030"/>
              <a:gd name="connsiteY37" fmla="*/ 2374265 h 2426970"/>
              <a:gd name="connisteX38" fmla="*/ 4070985 w 5193030"/>
              <a:gd name="connsiteY38" fmla="*/ 2361565 h 2426970"/>
              <a:gd name="connisteX39" fmla="*/ 4436110 w 5193030"/>
              <a:gd name="connsiteY39" fmla="*/ 2361565 h 2426970"/>
              <a:gd name="connisteX40" fmla="*/ 4436110 w 5193030"/>
              <a:gd name="connsiteY40" fmla="*/ 1917700 h 2426970"/>
              <a:gd name="connisteX41" fmla="*/ 4671060 w 5193030"/>
              <a:gd name="connsiteY41" fmla="*/ 1917700 h 2426970"/>
              <a:gd name="connisteX42" fmla="*/ 4658360 w 5193030"/>
              <a:gd name="connsiteY42" fmla="*/ 2126615 h 2426970"/>
              <a:gd name="connisteX43" fmla="*/ 4853940 w 5193030"/>
              <a:gd name="connsiteY43" fmla="*/ 2126615 h 2426970"/>
              <a:gd name="connisteX44" fmla="*/ 4879975 w 5193030"/>
              <a:gd name="connsiteY44" fmla="*/ 2361565 h 2426970"/>
              <a:gd name="connisteX45" fmla="*/ 5193030 w 5193030"/>
              <a:gd name="connsiteY45" fmla="*/ 2361565 h 24269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 ang="0">
                <a:pos x="connisteX36" y="connsiteY36"/>
              </a:cxn>
              <a:cxn ang="0">
                <a:pos x="connisteX37" y="connsiteY37"/>
              </a:cxn>
              <a:cxn ang="0">
                <a:pos x="connisteX38" y="connsiteY38"/>
              </a:cxn>
              <a:cxn ang="0">
                <a:pos x="connisteX39" y="connsiteY39"/>
              </a:cxn>
              <a:cxn ang="0">
                <a:pos x="connisteX40" y="connsiteY40"/>
              </a:cxn>
              <a:cxn ang="0">
                <a:pos x="connisteX41" y="connsiteY41"/>
              </a:cxn>
              <a:cxn ang="0">
                <a:pos x="connisteX42" y="connsiteY42"/>
              </a:cxn>
              <a:cxn ang="0">
                <a:pos x="connisteX43" y="connsiteY43"/>
              </a:cxn>
              <a:cxn ang="0">
                <a:pos x="connisteX44" y="connsiteY44"/>
              </a:cxn>
              <a:cxn ang="0">
                <a:pos x="connisteX45" y="connsiteY45"/>
              </a:cxn>
            </a:cxnLst>
            <a:rect l="l" t="t" r="r" b="b"/>
            <a:pathLst>
              <a:path w="5193030" h="2426970">
                <a:moveTo>
                  <a:pt x="0" y="2426970"/>
                </a:moveTo>
                <a:lnTo>
                  <a:pt x="574040" y="2426970"/>
                </a:lnTo>
                <a:lnTo>
                  <a:pt x="574040" y="1826260"/>
                </a:lnTo>
                <a:lnTo>
                  <a:pt x="861060" y="1826260"/>
                </a:lnTo>
                <a:lnTo>
                  <a:pt x="861060" y="2426970"/>
                </a:lnTo>
                <a:lnTo>
                  <a:pt x="1187450" y="2413635"/>
                </a:lnTo>
                <a:lnTo>
                  <a:pt x="1174115" y="1617980"/>
                </a:lnTo>
                <a:lnTo>
                  <a:pt x="1422400" y="1604645"/>
                </a:lnTo>
                <a:lnTo>
                  <a:pt x="1435100" y="1148080"/>
                </a:lnTo>
                <a:lnTo>
                  <a:pt x="1787525" y="1134745"/>
                </a:lnTo>
                <a:lnTo>
                  <a:pt x="1787525" y="1604645"/>
                </a:lnTo>
                <a:lnTo>
                  <a:pt x="1892300" y="1604645"/>
                </a:lnTo>
                <a:lnTo>
                  <a:pt x="1892300" y="2400300"/>
                </a:lnTo>
                <a:lnTo>
                  <a:pt x="2270125" y="2387600"/>
                </a:lnTo>
                <a:lnTo>
                  <a:pt x="2035810" y="2387600"/>
                </a:lnTo>
                <a:lnTo>
                  <a:pt x="2035810" y="600075"/>
                </a:lnTo>
                <a:lnTo>
                  <a:pt x="2518410" y="0"/>
                </a:lnTo>
                <a:lnTo>
                  <a:pt x="2622550" y="117475"/>
                </a:lnTo>
                <a:lnTo>
                  <a:pt x="2635885" y="2348230"/>
                </a:lnTo>
                <a:lnTo>
                  <a:pt x="2727325" y="2348230"/>
                </a:lnTo>
                <a:lnTo>
                  <a:pt x="2740025" y="717550"/>
                </a:lnTo>
                <a:lnTo>
                  <a:pt x="2883535" y="756285"/>
                </a:lnTo>
                <a:lnTo>
                  <a:pt x="3131820" y="1330325"/>
                </a:lnTo>
                <a:lnTo>
                  <a:pt x="3144520" y="2374265"/>
                </a:lnTo>
                <a:lnTo>
                  <a:pt x="3209925" y="2361565"/>
                </a:lnTo>
                <a:lnTo>
                  <a:pt x="3209925" y="1917700"/>
                </a:lnTo>
                <a:lnTo>
                  <a:pt x="3314065" y="1917700"/>
                </a:lnTo>
                <a:lnTo>
                  <a:pt x="3222625" y="1852295"/>
                </a:lnTo>
                <a:lnTo>
                  <a:pt x="3183890" y="1644015"/>
                </a:lnTo>
                <a:lnTo>
                  <a:pt x="3235960" y="1461135"/>
                </a:lnTo>
                <a:lnTo>
                  <a:pt x="3457575" y="1369695"/>
                </a:lnTo>
                <a:lnTo>
                  <a:pt x="3640455" y="1421765"/>
                </a:lnTo>
                <a:lnTo>
                  <a:pt x="3731895" y="1539240"/>
                </a:lnTo>
                <a:lnTo>
                  <a:pt x="3705860" y="1787525"/>
                </a:lnTo>
                <a:lnTo>
                  <a:pt x="3666490" y="1839595"/>
                </a:lnTo>
                <a:lnTo>
                  <a:pt x="3536315" y="1931035"/>
                </a:lnTo>
                <a:lnTo>
                  <a:pt x="3692525" y="1905000"/>
                </a:lnTo>
                <a:lnTo>
                  <a:pt x="3718560" y="2374265"/>
                </a:lnTo>
                <a:lnTo>
                  <a:pt x="4070985" y="2361565"/>
                </a:lnTo>
                <a:lnTo>
                  <a:pt x="4436110" y="2361565"/>
                </a:lnTo>
                <a:lnTo>
                  <a:pt x="4436110" y="1917700"/>
                </a:lnTo>
                <a:lnTo>
                  <a:pt x="4671060" y="1917700"/>
                </a:lnTo>
                <a:lnTo>
                  <a:pt x="4658360" y="2126615"/>
                </a:lnTo>
                <a:lnTo>
                  <a:pt x="4853940" y="2126615"/>
                </a:lnTo>
                <a:lnTo>
                  <a:pt x="4879975" y="2361565"/>
                </a:lnTo>
                <a:lnTo>
                  <a:pt x="5193030" y="2361565"/>
                </a:lnTo>
              </a:path>
            </a:pathLst>
          </a:custGeom>
          <a:noFill/>
          <a:ln w="381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2"/>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3"/>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4"/>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5"/>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6"/>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7"/>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雷电天气</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8"/>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9"/>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10"/>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1"/>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2"/>
            </p:custDataLst>
          </p:nvPr>
        </p:nvSpPr>
        <p:spPr>
          <a:xfrm>
            <a:off x="704850" y="1770380"/>
            <a:ext cx="4843780" cy="4246245"/>
          </a:xfrm>
          <a:prstGeom prst="rect">
            <a:avLst/>
          </a:prstGeom>
          <a:noFill/>
        </p:spPr>
        <p:txBody>
          <a:bodyPr wrap="square" rtlCol="0">
            <a:spAutoFit/>
          </a:bodyPr>
          <a:lstStyle/>
          <a:p>
            <a:pPr>
              <a:lnSpc>
                <a:spcPct val="150000"/>
              </a:lnSpc>
            </a:pPr>
            <a:r>
              <a:rPr sz="2000">
                <a:solidFill>
                  <a:schemeClr val="dk1"/>
                </a:solidFill>
              </a:rPr>
              <a:t>（1）高层楼撤下，电梯不可搭。</a:t>
            </a:r>
            <a:endParaRPr sz="2000">
              <a:solidFill>
                <a:schemeClr val="dk1"/>
              </a:solidFill>
            </a:endParaRPr>
          </a:p>
          <a:p>
            <a:pPr>
              <a:lnSpc>
                <a:spcPct val="150000"/>
              </a:lnSpc>
            </a:pPr>
            <a:r>
              <a:rPr sz="2000">
                <a:solidFill>
                  <a:schemeClr val="dk1"/>
                </a:solidFill>
              </a:rPr>
              <a:t>（2）平房避震有讲究，是跑是留两可求，因地制宜做决断，错过时机诸事休。</a:t>
            </a:r>
            <a:endParaRPr sz="2000">
              <a:solidFill>
                <a:schemeClr val="dk1"/>
              </a:solidFill>
            </a:endParaRPr>
          </a:p>
          <a:p>
            <a:pPr>
              <a:lnSpc>
                <a:spcPct val="150000"/>
              </a:lnSpc>
            </a:pPr>
            <a:r>
              <a:rPr sz="2000">
                <a:solidFill>
                  <a:schemeClr val="dk1"/>
                </a:solidFill>
              </a:rPr>
              <a:t>（3）次生灾害危害大，需要尽量预防它，电源燃气是隐患，震时及时关上闸。</a:t>
            </a:r>
            <a:endParaRPr sz="2000">
              <a:solidFill>
                <a:schemeClr val="dk1"/>
              </a:solidFill>
            </a:endParaRPr>
          </a:p>
          <a:p>
            <a:pPr>
              <a:lnSpc>
                <a:spcPct val="150000"/>
              </a:lnSpc>
            </a:pPr>
            <a:r>
              <a:rPr sz="2000">
                <a:solidFill>
                  <a:schemeClr val="dk1"/>
                </a:solidFill>
              </a:rPr>
              <a:t>（4）强震颠簸站立难，就近躲避最明见，床下桌下小开间，伏而待定保安全。</a:t>
            </a:r>
            <a:endParaRPr sz="2000">
              <a:solidFill>
                <a:schemeClr val="dk1"/>
              </a:solidFill>
            </a:endParaRPr>
          </a:p>
          <a:p>
            <a:pPr>
              <a:lnSpc>
                <a:spcPct val="150000"/>
              </a:lnSpc>
            </a:pPr>
            <a:r>
              <a:rPr sz="2000">
                <a:solidFill>
                  <a:schemeClr val="dk1"/>
                </a:solidFill>
              </a:rPr>
              <a:t>（5）震时火灾易发生，伏在地上要镇静，沾湿毛巾口鼻捂，弯腰匍匐逆风行。</a:t>
            </a:r>
            <a:endParaRPr sz="2000">
              <a:solidFill>
                <a:schemeClr val="dk1"/>
              </a:solidFill>
            </a:endParaRPr>
          </a:p>
        </p:txBody>
      </p:sp>
      <p:sp>
        <p:nvSpPr>
          <p:cNvPr id="3" name="任意多边形 2"/>
          <p:cNvSpPr/>
          <p:nvPr>
            <p:custDataLst>
              <p:tags r:id="rId13"/>
            </p:custDataLst>
          </p:nvPr>
        </p:nvSpPr>
        <p:spPr>
          <a:xfrm>
            <a:off x="6658610" y="2348230"/>
            <a:ext cx="2622550" cy="3770630"/>
          </a:xfrm>
          <a:custGeom>
            <a:avLst/>
            <a:gdLst>
              <a:gd name="connisteX0" fmla="*/ 991870 w 2622550"/>
              <a:gd name="connsiteY0" fmla="*/ 143510 h 3770630"/>
              <a:gd name="connisteX1" fmla="*/ 1422400 w 2622550"/>
              <a:gd name="connsiteY1" fmla="*/ 900430 h 3770630"/>
              <a:gd name="connisteX2" fmla="*/ 978535 w 2622550"/>
              <a:gd name="connsiteY2" fmla="*/ 1265555 h 3770630"/>
              <a:gd name="connisteX3" fmla="*/ 1292225 w 2622550"/>
              <a:gd name="connsiteY3" fmla="*/ 1644015 h 3770630"/>
              <a:gd name="connisteX4" fmla="*/ 456565 w 2622550"/>
              <a:gd name="connsiteY4" fmla="*/ 2152650 h 3770630"/>
              <a:gd name="connisteX5" fmla="*/ 665480 w 2622550"/>
              <a:gd name="connsiteY5" fmla="*/ 2244090 h 3770630"/>
              <a:gd name="connisteX6" fmla="*/ 0 w 2622550"/>
              <a:gd name="connsiteY6" fmla="*/ 2896870 h 3770630"/>
              <a:gd name="connisteX7" fmla="*/ 770255 w 2622550"/>
              <a:gd name="connsiteY7" fmla="*/ 2374900 h 3770630"/>
              <a:gd name="connisteX8" fmla="*/ 717550 w 2622550"/>
              <a:gd name="connsiteY8" fmla="*/ 2113915 h 3770630"/>
              <a:gd name="connisteX9" fmla="*/ 1304925 w 2622550"/>
              <a:gd name="connsiteY9" fmla="*/ 1826895 h 3770630"/>
              <a:gd name="connisteX10" fmla="*/ 1083310 w 2622550"/>
              <a:gd name="connsiteY10" fmla="*/ 2178685 h 3770630"/>
              <a:gd name="connisteX11" fmla="*/ 1252855 w 2622550"/>
              <a:gd name="connsiteY11" fmla="*/ 2635885 h 3770630"/>
              <a:gd name="connisteX12" fmla="*/ 1057275 w 2622550"/>
              <a:gd name="connsiteY12" fmla="*/ 3013710 h 3770630"/>
              <a:gd name="connisteX13" fmla="*/ 1135380 w 2622550"/>
              <a:gd name="connsiteY13" fmla="*/ 3770630 h 3770630"/>
              <a:gd name="connisteX14" fmla="*/ 1135380 w 2622550"/>
              <a:gd name="connsiteY14" fmla="*/ 3040380 h 3770630"/>
              <a:gd name="connisteX15" fmla="*/ 1370330 w 2622550"/>
              <a:gd name="connsiteY15" fmla="*/ 2687955 h 3770630"/>
              <a:gd name="connisteX16" fmla="*/ 1213485 w 2622550"/>
              <a:gd name="connsiteY16" fmla="*/ 2244090 h 3770630"/>
              <a:gd name="connisteX17" fmla="*/ 1448435 w 2622550"/>
              <a:gd name="connsiteY17" fmla="*/ 1813560 h 3770630"/>
              <a:gd name="connisteX18" fmla="*/ 1292225 w 2622550"/>
              <a:gd name="connsiteY18" fmla="*/ 1265555 h 3770630"/>
              <a:gd name="connisteX19" fmla="*/ 2179320 w 2622550"/>
              <a:gd name="connsiteY19" fmla="*/ 952500 h 3770630"/>
              <a:gd name="connisteX20" fmla="*/ 2622550 w 2622550"/>
              <a:gd name="connsiteY20" fmla="*/ 913130 h 3770630"/>
              <a:gd name="connisteX21" fmla="*/ 2374900 w 2622550"/>
              <a:gd name="connsiteY21" fmla="*/ 821690 h 3770630"/>
              <a:gd name="connisteX22" fmla="*/ 1852930 w 2622550"/>
              <a:gd name="connsiteY22" fmla="*/ 965200 h 3770630"/>
              <a:gd name="connisteX23" fmla="*/ 1996440 w 2622550"/>
              <a:gd name="connsiteY23" fmla="*/ 782955 h 3770630"/>
              <a:gd name="connisteX24" fmla="*/ 2192020 w 2622550"/>
              <a:gd name="connsiteY24" fmla="*/ 456565 h 3770630"/>
              <a:gd name="connisteX25" fmla="*/ 1983740 w 2622550"/>
              <a:gd name="connsiteY25" fmla="*/ 678180 h 3770630"/>
              <a:gd name="connisteX26" fmla="*/ 1644015 w 2622550"/>
              <a:gd name="connsiteY26" fmla="*/ 821690 h 3770630"/>
              <a:gd name="connisteX27" fmla="*/ 1435735 w 2622550"/>
              <a:gd name="connsiteY27" fmla="*/ 626110 h 3770630"/>
              <a:gd name="connisteX28" fmla="*/ 1487805 w 2622550"/>
              <a:gd name="connsiteY28" fmla="*/ 365125 h 3770630"/>
              <a:gd name="connisteX29" fmla="*/ 1370330 w 2622550"/>
              <a:gd name="connsiteY29" fmla="*/ 613410 h 3770630"/>
              <a:gd name="connisteX30" fmla="*/ 1252855 w 2622550"/>
              <a:gd name="connsiteY30" fmla="*/ 339090 h 3770630"/>
              <a:gd name="connisteX31" fmla="*/ 1031240 w 2622550"/>
              <a:gd name="connsiteY31" fmla="*/ 156210 h 3770630"/>
              <a:gd name="connisteX32" fmla="*/ 913765 w 2622550"/>
              <a:gd name="connsiteY32" fmla="*/ 0 h 3770630"/>
              <a:gd name="connisteX33" fmla="*/ 991870 w 2622550"/>
              <a:gd name="connsiteY33" fmla="*/ 143510 h 37706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Lst>
            <a:rect l="l" t="t" r="r" b="b"/>
            <a:pathLst>
              <a:path w="2622550" h="3770630">
                <a:moveTo>
                  <a:pt x="991870" y="143510"/>
                </a:moveTo>
                <a:lnTo>
                  <a:pt x="1422400" y="900430"/>
                </a:lnTo>
                <a:lnTo>
                  <a:pt x="978535" y="1265555"/>
                </a:lnTo>
                <a:lnTo>
                  <a:pt x="1292225" y="1644015"/>
                </a:lnTo>
                <a:lnTo>
                  <a:pt x="456565" y="2152650"/>
                </a:lnTo>
                <a:lnTo>
                  <a:pt x="665480" y="2244090"/>
                </a:lnTo>
                <a:lnTo>
                  <a:pt x="0" y="2896870"/>
                </a:lnTo>
                <a:lnTo>
                  <a:pt x="770255" y="2374900"/>
                </a:lnTo>
                <a:lnTo>
                  <a:pt x="717550" y="2113915"/>
                </a:lnTo>
                <a:lnTo>
                  <a:pt x="1304925" y="1826895"/>
                </a:lnTo>
                <a:lnTo>
                  <a:pt x="1083310" y="2178685"/>
                </a:lnTo>
                <a:lnTo>
                  <a:pt x="1252855" y="2635885"/>
                </a:lnTo>
                <a:lnTo>
                  <a:pt x="1057275" y="3013710"/>
                </a:lnTo>
                <a:lnTo>
                  <a:pt x="1135380" y="3770630"/>
                </a:lnTo>
                <a:lnTo>
                  <a:pt x="1135380" y="3040380"/>
                </a:lnTo>
                <a:lnTo>
                  <a:pt x="1370330" y="2687955"/>
                </a:lnTo>
                <a:lnTo>
                  <a:pt x="1213485" y="2244090"/>
                </a:lnTo>
                <a:lnTo>
                  <a:pt x="1448435" y="1813560"/>
                </a:lnTo>
                <a:lnTo>
                  <a:pt x="1292225" y="1265555"/>
                </a:lnTo>
                <a:lnTo>
                  <a:pt x="2179320" y="952500"/>
                </a:lnTo>
                <a:lnTo>
                  <a:pt x="2622550" y="913130"/>
                </a:lnTo>
                <a:lnTo>
                  <a:pt x="2374900" y="821690"/>
                </a:lnTo>
                <a:lnTo>
                  <a:pt x="1852930" y="965200"/>
                </a:lnTo>
                <a:lnTo>
                  <a:pt x="1996440" y="782955"/>
                </a:lnTo>
                <a:lnTo>
                  <a:pt x="2192020" y="456565"/>
                </a:lnTo>
                <a:lnTo>
                  <a:pt x="1983740" y="678180"/>
                </a:lnTo>
                <a:lnTo>
                  <a:pt x="1644015" y="821690"/>
                </a:lnTo>
                <a:lnTo>
                  <a:pt x="1435735" y="626110"/>
                </a:lnTo>
                <a:lnTo>
                  <a:pt x="1487805" y="365125"/>
                </a:lnTo>
                <a:lnTo>
                  <a:pt x="1370330" y="613410"/>
                </a:lnTo>
                <a:lnTo>
                  <a:pt x="1252855" y="339090"/>
                </a:lnTo>
                <a:lnTo>
                  <a:pt x="1031240" y="156210"/>
                </a:lnTo>
                <a:lnTo>
                  <a:pt x="913765" y="0"/>
                </a:lnTo>
                <a:lnTo>
                  <a:pt x="991870" y="14351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4"/>
            </p:custDataLst>
          </p:nvPr>
        </p:nvSpPr>
        <p:spPr>
          <a:xfrm>
            <a:off x="9464040" y="2439670"/>
            <a:ext cx="1852930" cy="2909570"/>
          </a:xfrm>
          <a:custGeom>
            <a:avLst/>
            <a:gdLst>
              <a:gd name="connisteX0" fmla="*/ 691515 w 1852930"/>
              <a:gd name="connsiteY0" fmla="*/ 325755 h 2909570"/>
              <a:gd name="connisteX1" fmla="*/ 391795 w 1852930"/>
              <a:gd name="connsiteY1" fmla="*/ 887095 h 2909570"/>
              <a:gd name="connisteX2" fmla="*/ 743585 w 1852930"/>
              <a:gd name="connsiteY2" fmla="*/ 1278255 h 2909570"/>
              <a:gd name="connisteX3" fmla="*/ 717550 w 1852930"/>
              <a:gd name="connsiteY3" fmla="*/ 1500505 h 2909570"/>
              <a:gd name="connisteX4" fmla="*/ 195580 w 1852930"/>
              <a:gd name="connsiteY4" fmla="*/ 1761490 h 2909570"/>
              <a:gd name="connisteX5" fmla="*/ 182880 w 1852930"/>
              <a:gd name="connsiteY5" fmla="*/ 1969770 h 2909570"/>
              <a:gd name="connisteX6" fmla="*/ 182880 w 1852930"/>
              <a:gd name="connsiteY6" fmla="*/ 2035175 h 2909570"/>
              <a:gd name="connisteX7" fmla="*/ 0 w 1852930"/>
              <a:gd name="connsiteY7" fmla="*/ 2296160 h 2909570"/>
              <a:gd name="connisteX8" fmla="*/ 260985 w 1852930"/>
              <a:gd name="connsiteY8" fmla="*/ 2139950 h 2909570"/>
              <a:gd name="connisteX9" fmla="*/ 247650 w 1852930"/>
              <a:gd name="connsiteY9" fmla="*/ 1826260 h 2909570"/>
              <a:gd name="connisteX10" fmla="*/ 756920 w 1852930"/>
              <a:gd name="connsiteY10" fmla="*/ 1578610 h 2909570"/>
              <a:gd name="connisteX11" fmla="*/ 717550 w 1852930"/>
              <a:gd name="connsiteY11" fmla="*/ 1813560 h 2909570"/>
              <a:gd name="connisteX12" fmla="*/ 1043940 w 1852930"/>
              <a:gd name="connsiteY12" fmla="*/ 2087245 h 2909570"/>
              <a:gd name="connisteX13" fmla="*/ 1030605 w 1852930"/>
              <a:gd name="connsiteY13" fmla="*/ 2622550 h 2909570"/>
              <a:gd name="connisteX14" fmla="*/ 1317625 w 1852930"/>
              <a:gd name="connsiteY14" fmla="*/ 2909570 h 2909570"/>
              <a:gd name="connisteX15" fmla="*/ 1096010 w 1852930"/>
              <a:gd name="connsiteY15" fmla="*/ 2661920 h 2909570"/>
              <a:gd name="connisteX16" fmla="*/ 1135380 w 1852930"/>
              <a:gd name="connsiteY16" fmla="*/ 2009140 h 2909570"/>
              <a:gd name="connisteX17" fmla="*/ 861060 w 1852930"/>
              <a:gd name="connsiteY17" fmla="*/ 1748155 h 2909570"/>
              <a:gd name="connisteX18" fmla="*/ 861060 w 1852930"/>
              <a:gd name="connsiteY18" fmla="*/ 1435100 h 2909570"/>
              <a:gd name="connisteX19" fmla="*/ 822325 w 1852930"/>
              <a:gd name="connsiteY19" fmla="*/ 1134745 h 2909570"/>
              <a:gd name="connisteX20" fmla="*/ 1109345 w 1852930"/>
              <a:gd name="connsiteY20" fmla="*/ 1317625 h 2909570"/>
              <a:gd name="connisteX21" fmla="*/ 1226820 w 1852930"/>
              <a:gd name="connsiteY21" fmla="*/ 1617980 h 2909570"/>
              <a:gd name="connisteX22" fmla="*/ 1526540 w 1852930"/>
              <a:gd name="connsiteY22" fmla="*/ 1656715 h 2909570"/>
              <a:gd name="connisteX23" fmla="*/ 1852930 w 1852930"/>
              <a:gd name="connsiteY23" fmla="*/ 2165985 h 2909570"/>
              <a:gd name="connisteX24" fmla="*/ 1722120 w 1852930"/>
              <a:gd name="connsiteY24" fmla="*/ 1813560 h 2909570"/>
              <a:gd name="connisteX25" fmla="*/ 1591945 w 1852930"/>
              <a:gd name="connsiteY25" fmla="*/ 1578610 h 2909570"/>
              <a:gd name="connisteX26" fmla="*/ 1278890 w 1852930"/>
              <a:gd name="connsiteY26" fmla="*/ 1565275 h 2909570"/>
              <a:gd name="connisteX27" fmla="*/ 1161415 w 1852930"/>
              <a:gd name="connsiteY27" fmla="*/ 1226185 h 2909570"/>
              <a:gd name="connisteX28" fmla="*/ 900430 w 1852930"/>
              <a:gd name="connsiteY28" fmla="*/ 1122045 h 2909570"/>
              <a:gd name="connisteX29" fmla="*/ 665480 w 1852930"/>
              <a:gd name="connsiteY29" fmla="*/ 965200 h 2909570"/>
              <a:gd name="connisteX30" fmla="*/ 1252855 w 1852930"/>
              <a:gd name="connsiteY30" fmla="*/ 743585 h 2909570"/>
              <a:gd name="connisteX31" fmla="*/ 1291590 w 1852930"/>
              <a:gd name="connsiteY31" fmla="*/ 456565 h 2909570"/>
              <a:gd name="connisteX32" fmla="*/ 1748155 w 1852930"/>
              <a:gd name="connsiteY32" fmla="*/ 260985 h 2909570"/>
              <a:gd name="connisteX33" fmla="*/ 1852930 w 1852930"/>
              <a:gd name="connsiteY33" fmla="*/ 64770 h 2909570"/>
              <a:gd name="connisteX34" fmla="*/ 1591945 w 1852930"/>
              <a:gd name="connsiteY34" fmla="*/ 273685 h 2909570"/>
              <a:gd name="connisteX35" fmla="*/ 1187450 w 1852930"/>
              <a:gd name="connsiteY35" fmla="*/ 378460 h 2909570"/>
              <a:gd name="connisteX36" fmla="*/ 1213485 w 1852930"/>
              <a:gd name="connsiteY36" fmla="*/ 626110 h 2909570"/>
              <a:gd name="connisteX37" fmla="*/ 848360 w 1852930"/>
              <a:gd name="connsiteY37" fmla="*/ 873760 h 2909570"/>
              <a:gd name="connisteX38" fmla="*/ 613410 w 1852930"/>
              <a:gd name="connsiteY38" fmla="*/ 873760 h 2909570"/>
              <a:gd name="connisteX39" fmla="*/ 561340 w 1852930"/>
              <a:gd name="connsiteY39" fmla="*/ 808990 h 2909570"/>
              <a:gd name="connisteX40" fmla="*/ 769620 w 1852930"/>
              <a:gd name="connsiteY40" fmla="*/ 495935 h 2909570"/>
              <a:gd name="connisteX41" fmla="*/ 991870 w 1852930"/>
              <a:gd name="connsiteY41" fmla="*/ 469265 h 2909570"/>
              <a:gd name="connisteX42" fmla="*/ 1200150 w 1852930"/>
              <a:gd name="connsiteY42" fmla="*/ 299720 h 2909570"/>
              <a:gd name="connisteX43" fmla="*/ 939800 w 1852930"/>
              <a:gd name="connsiteY43" fmla="*/ 417195 h 2909570"/>
              <a:gd name="connisteX44" fmla="*/ 808990 w 1852930"/>
              <a:gd name="connsiteY44" fmla="*/ 417195 h 2909570"/>
              <a:gd name="connisteX45" fmla="*/ 835025 w 1852930"/>
              <a:gd name="connsiteY45" fmla="*/ 273685 h 2909570"/>
              <a:gd name="connisteX46" fmla="*/ 352425 w 1852930"/>
              <a:gd name="connsiteY46" fmla="*/ 143510 h 2909570"/>
              <a:gd name="connisteX47" fmla="*/ 247650 w 1852930"/>
              <a:gd name="connsiteY47" fmla="*/ 0 h 2909570"/>
              <a:gd name="connisteX48" fmla="*/ 313055 w 1852930"/>
              <a:gd name="connsiteY48" fmla="*/ 182245 h 2909570"/>
              <a:gd name="connisteX49" fmla="*/ 600075 w 1852930"/>
              <a:gd name="connsiteY49" fmla="*/ 313055 h 2909570"/>
              <a:gd name="connisteX50" fmla="*/ 691515 w 1852930"/>
              <a:gd name="connsiteY50" fmla="*/ 325755 h 29095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 ang="0">
                <a:pos x="connisteX21" y="connsiteY21"/>
              </a:cxn>
              <a:cxn ang="0">
                <a:pos x="connisteX22" y="connsiteY22"/>
              </a:cxn>
              <a:cxn ang="0">
                <a:pos x="connisteX23" y="connsiteY23"/>
              </a:cxn>
              <a:cxn ang="0">
                <a:pos x="connisteX24" y="connsiteY24"/>
              </a:cxn>
              <a:cxn ang="0">
                <a:pos x="connisteX25" y="connsiteY25"/>
              </a:cxn>
              <a:cxn ang="0">
                <a:pos x="connisteX26" y="connsiteY26"/>
              </a:cxn>
              <a:cxn ang="0">
                <a:pos x="connisteX27" y="connsiteY27"/>
              </a:cxn>
              <a:cxn ang="0">
                <a:pos x="connisteX28" y="connsiteY28"/>
              </a:cxn>
              <a:cxn ang="0">
                <a:pos x="connisteX29" y="connsiteY29"/>
              </a:cxn>
              <a:cxn ang="0">
                <a:pos x="connisteX30" y="connsiteY30"/>
              </a:cxn>
              <a:cxn ang="0">
                <a:pos x="connisteX31" y="connsiteY31"/>
              </a:cxn>
              <a:cxn ang="0">
                <a:pos x="connisteX32" y="connsiteY32"/>
              </a:cxn>
              <a:cxn ang="0">
                <a:pos x="connisteX33" y="connsiteY33"/>
              </a:cxn>
              <a:cxn ang="0">
                <a:pos x="connisteX34" y="connsiteY34"/>
              </a:cxn>
              <a:cxn ang="0">
                <a:pos x="connisteX35" y="connsiteY35"/>
              </a:cxn>
              <a:cxn ang="0">
                <a:pos x="connisteX36" y="connsiteY36"/>
              </a:cxn>
              <a:cxn ang="0">
                <a:pos x="connisteX37" y="connsiteY37"/>
              </a:cxn>
              <a:cxn ang="0">
                <a:pos x="connisteX38" y="connsiteY38"/>
              </a:cxn>
              <a:cxn ang="0">
                <a:pos x="connisteX39" y="connsiteY39"/>
              </a:cxn>
              <a:cxn ang="0">
                <a:pos x="connisteX40" y="connsiteY40"/>
              </a:cxn>
              <a:cxn ang="0">
                <a:pos x="connisteX41" y="connsiteY41"/>
              </a:cxn>
              <a:cxn ang="0">
                <a:pos x="connisteX42" y="connsiteY42"/>
              </a:cxn>
              <a:cxn ang="0">
                <a:pos x="connisteX43" y="connsiteY43"/>
              </a:cxn>
              <a:cxn ang="0">
                <a:pos x="connisteX44" y="connsiteY44"/>
              </a:cxn>
              <a:cxn ang="0">
                <a:pos x="connisteX45" y="connsiteY45"/>
              </a:cxn>
              <a:cxn ang="0">
                <a:pos x="connisteX46" y="connsiteY46"/>
              </a:cxn>
              <a:cxn ang="0">
                <a:pos x="connisteX47" y="connsiteY47"/>
              </a:cxn>
              <a:cxn ang="0">
                <a:pos x="connisteX48" y="connsiteY48"/>
              </a:cxn>
              <a:cxn ang="0">
                <a:pos x="connisteX49" y="connsiteY49"/>
              </a:cxn>
              <a:cxn ang="0">
                <a:pos x="connisteX50" y="connsiteY50"/>
              </a:cxn>
            </a:cxnLst>
            <a:rect l="l" t="t" r="r" b="b"/>
            <a:pathLst>
              <a:path w="1852930" h="2909570">
                <a:moveTo>
                  <a:pt x="691515" y="325755"/>
                </a:moveTo>
                <a:lnTo>
                  <a:pt x="391795" y="887095"/>
                </a:lnTo>
                <a:lnTo>
                  <a:pt x="743585" y="1278255"/>
                </a:lnTo>
                <a:lnTo>
                  <a:pt x="717550" y="1500505"/>
                </a:lnTo>
                <a:lnTo>
                  <a:pt x="195580" y="1761490"/>
                </a:lnTo>
                <a:lnTo>
                  <a:pt x="182880" y="1969770"/>
                </a:lnTo>
                <a:lnTo>
                  <a:pt x="182880" y="2035175"/>
                </a:lnTo>
                <a:lnTo>
                  <a:pt x="0" y="2296160"/>
                </a:lnTo>
                <a:lnTo>
                  <a:pt x="260985" y="2139950"/>
                </a:lnTo>
                <a:lnTo>
                  <a:pt x="247650" y="1826260"/>
                </a:lnTo>
                <a:lnTo>
                  <a:pt x="756920" y="1578610"/>
                </a:lnTo>
                <a:lnTo>
                  <a:pt x="717550" y="1813560"/>
                </a:lnTo>
                <a:lnTo>
                  <a:pt x="1043940" y="2087245"/>
                </a:lnTo>
                <a:lnTo>
                  <a:pt x="1030605" y="2622550"/>
                </a:lnTo>
                <a:lnTo>
                  <a:pt x="1317625" y="2909570"/>
                </a:lnTo>
                <a:lnTo>
                  <a:pt x="1096010" y="2661920"/>
                </a:lnTo>
                <a:lnTo>
                  <a:pt x="1135380" y="2009140"/>
                </a:lnTo>
                <a:lnTo>
                  <a:pt x="861060" y="1748155"/>
                </a:lnTo>
                <a:lnTo>
                  <a:pt x="861060" y="1435100"/>
                </a:lnTo>
                <a:lnTo>
                  <a:pt x="822325" y="1134745"/>
                </a:lnTo>
                <a:lnTo>
                  <a:pt x="1109345" y="1317625"/>
                </a:lnTo>
                <a:lnTo>
                  <a:pt x="1226820" y="1617980"/>
                </a:lnTo>
                <a:lnTo>
                  <a:pt x="1526540" y="1656715"/>
                </a:lnTo>
                <a:lnTo>
                  <a:pt x="1852930" y="2165985"/>
                </a:lnTo>
                <a:lnTo>
                  <a:pt x="1722120" y="1813560"/>
                </a:lnTo>
                <a:lnTo>
                  <a:pt x="1591945" y="1578610"/>
                </a:lnTo>
                <a:lnTo>
                  <a:pt x="1278890" y="1565275"/>
                </a:lnTo>
                <a:lnTo>
                  <a:pt x="1161415" y="1226185"/>
                </a:lnTo>
                <a:lnTo>
                  <a:pt x="900430" y="1122045"/>
                </a:lnTo>
                <a:lnTo>
                  <a:pt x="665480" y="965200"/>
                </a:lnTo>
                <a:lnTo>
                  <a:pt x="1252855" y="743585"/>
                </a:lnTo>
                <a:lnTo>
                  <a:pt x="1291590" y="456565"/>
                </a:lnTo>
                <a:lnTo>
                  <a:pt x="1748155" y="260985"/>
                </a:lnTo>
                <a:lnTo>
                  <a:pt x="1852930" y="64770"/>
                </a:lnTo>
                <a:lnTo>
                  <a:pt x="1591945" y="273685"/>
                </a:lnTo>
                <a:lnTo>
                  <a:pt x="1187450" y="378460"/>
                </a:lnTo>
                <a:lnTo>
                  <a:pt x="1213485" y="626110"/>
                </a:lnTo>
                <a:lnTo>
                  <a:pt x="848360" y="873760"/>
                </a:lnTo>
                <a:lnTo>
                  <a:pt x="613410" y="873760"/>
                </a:lnTo>
                <a:lnTo>
                  <a:pt x="561340" y="808990"/>
                </a:lnTo>
                <a:lnTo>
                  <a:pt x="769620" y="495935"/>
                </a:lnTo>
                <a:lnTo>
                  <a:pt x="991870" y="469265"/>
                </a:lnTo>
                <a:lnTo>
                  <a:pt x="1200150" y="299720"/>
                </a:lnTo>
                <a:lnTo>
                  <a:pt x="939800" y="417195"/>
                </a:lnTo>
                <a:lnTo>
                  <a:pt x="808990" y="417195"/>
                </a:lnTo>
                <a:lnTo>
                  <a:pt x="835025" y="273685"/>
                </a:lnTo>
                <a:lnTo>
                  <a:pt x="352425" y="143510"/>
                </a:lnTo>
                <a:lnTo>
                  <a:pt x="247650" y="0"/>
                </a:lnTo>
                <a:lnTo>
                  <a:pt x="313055" y="182245"/>
                </a:lnTo>
                <a:lnTo>
                  <a:pt x="600075" y="313055"/>
                </a:lnTo>
                <a:lnTo>
                  <a:pt x="691515" y="32575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15"/>
            </p:custDataLst>
          </p:nvPr>
        </p:nvSpPr>
        <p:spPr>
          <a:xfrm>
            <a:off x="8459470" y="2452370"/>
            <a:ext cx="1383030" cy="2518410"/>
          </a:xfrm>
          <a:custGeom>
            <a:avLst/>
            <a:gdLst>
              <a:gd name="connisteX0" fmla="*/ 717550 w 1383030"/>
              <a:gd name="connsiteY0" fmla="*/ 248285 h 2518410"/>
              <a:gd name="connisteX1" fmla="*/ 795655 w 1383030"/>
              <a:gd name="connsiteY1" fmla="*/ 926465 h 2518410"/>
              <a:gd name="connisteX2" fmla="*/ 691515 w 1383030"/>
              <a:gd name="connsiteY2" fmla="*/ 1187450 h 2518410"/>
              <a:gd name="connisteX3" fmla="*/ 1004570 w 1383030"/>
              <a:gd name="connsiteY3" fmla="*/ 1435735 h 2518410"/>
              <a:gd name="connisteX4" fmla="*/ 130175 w 1383030"/>
              <a:gd name="connsiteY4" fmla="*/ 1852930 h 2518410"/>
              <a:gd name="connisteX5" fmla="*/ 365125 w 1383030"/>
              <a:gd name="connsiteY5" fmla="*/ 1931035 h 2518410"/>
              <a:gd name="connisteX6" fmla="*/ 0 w 1383030"/>
              <a:gd name="connsiteY6" fmla="*/ 2518410 h 2518410"/>
              <a:gd name="connisteX7" fmla="*/ 378460 w 1383030"/>
              <a:gd name="connsiteY7" fmla="*/ 2022475 h 2518410"/>
              <a:gd name="connisteX8" fmla="*/ 313055 w 1383030"/>
              <a:gd name="connsiteY8" fmla="*/ 1852930 h 2518410"/>
              <a:gd name="connisteX9" fmla="*/ 952500 w 1383030"/>
              <a:gd name="connsiteY9" fmla="*/ 1539875 h 2518410"/>
              <a:gd name="connisteX10" fmla="*/ 1383030 w 1383030"/>
              <a:gd name="connsiteY10" fmla="*/ 1448435 h 2518410"/>
              <a:gd name="connisteX11" fmla="*/ 835025 w 1383030"/>
              <a:gd name="connsiteY11" fmla="*/ 1239520 h 2518410"/>
              <a:gd name="connisteX12" fmla="*/ 821690 w 1383030"/>
              <a:gd name="connsiteY12" fmla="*/ 1083310 h 2518410"/>
              <a:gd name="connisteX13" fmla="*/ 1082675 w 1383030"/>
              <a:gd name="connsiteY13" fmla="*/ 730885 h 2518410"/>
              <a:gd name="connisteX14" fmla="*/ 1304925 w 1383030"/>
              <a:gd name="connsiteY14" fmla="*/ 626745 h 2518410"/>
              <a:gd name="connisteX15" fmla="*/ 1043940 w 1383030"/>
              <a:gd name="connsiteY15" fmla="*/ 652780 h 2518410"/>
              <a:gd name="connisteX16" fmla="*/ 887095 w 1383030"/>
              <a:gd name="connsiteY16" fmla="*/ 796290 h 2518410"/>
              <a:gd name="connisteX17" fmla="*/ 821690 w 1383030"/>
              <a:gd name="connsiteY17" fmla="*/ 521970 h 2518410"/>
              <a:gd name="connisteX18" fmla="*/ 821690 w 1383030"/>
              <a:gd name="connsiteY18" fmla="*/ 260985 h 2518410"/>
              <a:gd name="connisteX19" fmla="*/ 534670 w 1383030"/>
              <a:gd name="connsiteY19" fmla="*/ 0 h 2518410"/>
              <a:gd name="connisteX20" fmla="*/ 717550 w 1383030"/>
              <a:gd name="connsiteY20" fmla="*/ 248285 h 25184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 ang="0">
                <a:pos x="connisteX20" y="connsiteY20"/>
              </a:cxn>
            </a:cxnLst>
            <a:rect l="l" t="t" r="r" b="b"/>
            <a:pathLst>
              <a:path w="1383030" h="2518410">
                <a:moveTo>
                  <a:pt x="717550" y="248285"/>
                </a:moveTo>
                <a:lnTo>
                  <a:pt x="795655" y="926465"/>
                </a:lnTo>
                <a:lnTo>
                  <a:pt x="691515" y="1187450"/>
                </a:lnTo>
                <a:lnTo>
                  <a:pt x="1004570" y="1435735"/>
                </a:lnTo>
                <a:lnTo>
                  <a:pt x="130175" y="1852930"/>
                </a:lnTo>
                <a:lnTo>
                  <a:pt x="365125" y="1931035"/>
                </a:lnTo>
                <a:lnTo>
                  <a:pt x="0" y="2518410"/>
                </a:lnTo>
                <a:lnTo>
                  <a:pt x="378460" y="2022475"/>
                </a:lnTo>
                <a:lnTo>
                  <a:pt x="313055" y="1852930"/>
                </a:lnTo>
                <a:lnTo>
                  <a:pt x="952500" y="1539875"/>
                </a:lnTo>
                <a:lnTo>
                  <a:pt x="1383030" y="1448435"/>
                </a:lnTo>
                <a:lnTo>
                  <a:pt x="835025" y="1239520"/>
                </a:lnTo>
                <a:lnTo>
                  <a:pt x="821690" y="1083310"/>
                </a:lnTo>
                <a:lnTo>
                  <a:pt x="1082675" y="730885"/>
                </a:lnTo>
                <a:lnTo>
                  <a:pt x="1304925" y="626745"/>
                </a:lnTo>
                <a:lnTo>
                  <a:pt x="1043940" y="652780"/>
                </a:lnTo>
                <a:lnTo>
                  <a:pt x="887095" y="796290"/>
                </a:lnTo>
                <a:lnTo>
                  <a:pt x="821690" y="521970"/>
                </a:lnTo>
                <a:lnTo>
                  <a:pt x="821690" y="260985"/>
                </a:lnTo>
                <a:lnTo>
                  <a:pt x="534670" y="0"/>
                </a:lnTo>
                <a:lnTo>
                  <a:pt x="717550" y="248285"/>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31" name="组合 30"/>
          <p:cNvGrpSpPr/>
          <p:nvPr/>
        </p:nvGrpSpPr>
        <p:grpSpPr>
          <a:xfrm>
            <a:off x="5981065" y="1187450"/>
            <a:ext cx="5752465" cy="1886585"/>
            <a:chOff x="9126" y="1164"/>
            <a:chExt cx="9059" cy="2971"/>
          </a:xfrm>
        </p:grpSpPr>
        <p:sp>
          <p:nvSpPr>
            <p:cNvPr id="32" name="云形 31"/>
            <p:cNvSpPr/>
            <p:nvPr>
              <p:custDataLst>
                <p:tags r:id="rId16"/>
              </p:custDataLst>
            </p:nvPr>
          </p:nvSpPr>
          <p:spPr>
            <a:xfrm>
              <a:off x="12801" y="1957"/>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云形 32"/>
            <p:cNvSpPr/>
            <p:nvPr>
              <p:custDataLst>
                <p:tags r:id="rId17"/>
              </p:custDataLst>
            </p:nvPr>
          </p:nvSpPr>
          <p:spPr>
            <a:xfrm>
              <a:off x="9126" y="1751"/>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云形 33"/>
            <p:cNvSpPr/>
            <p:nvPr>
              <p:custDataLst>
                <p:tags r:id="rId18"/>
              </p:custDataLst>
            </p:nvPr>
          </p:nvSpPr>
          <p:spPr>
            <a:xfrm>
              <a:off x="14072" y="1572"/>
              <a:ext cx="4067" cy="159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云形 34"/>
            <p:cNvSpPr/>
            <p:nvPr>
              <p:custDataLst>
                <p:tags r:id="rId19"/>
              </p:custDataLst>
            </p:nvPr>
          </p:nvSpPr>
          <p:spPr>
            <a:xfrm>
              <a:off x="11384" y="1164"/>
              <a:ext cx="3823"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20"/>
    </p:custData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1）留在室内，关好门窗；在野外无法躲入有防雷设施的建筑物内时，要将手表、眼镜等金属物品摘掉，千万不要在离电源、大树和电线杆较近的地方避雨；尽量降低身体的高度，以减少直接雷击的危险；双脚要尽量靠近，与地面接触越小愈好，以减少“跨步电压”；野外最好的防护场所是洞穴、沟渠、峡谷或高大树丛下面的林间空地。</a:t>
            </a:r>
            <a:endParaRPr sz="2000">
              <a:solidFill>
                <a:schemeClr val="dk1"/>
              </a:solidFill>
            </a:endParaRPr>
          </a:p>
          <a:p>
            <a:pPr>
              <a:lnSpc>
                <a:spcPct val="150000"/>
              </a:lnSpc>
            </a:pPr>
            <a:r>
              <a:rPr sz="2000">
                <a:solidFill>
                  <a:schemeClr val="dk1"/>
                </a:solidFill>
              </a:rPr>
              <a:t>（2）不宜使用无防雷措施或防雷措施不足的电视、音响等电器，不要靠近打开的门窗、金属管道，要拔掉电器插头，关上电器和天然气开关。切忌使用电吹风、电动剃须刀等。不宜使用水龙头。</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707890"/>
          </a:xfrm>
          <a:prstGeom prst="rect">
            <a:avLst/>
          </a:prstGeom>
          <a:noFill/>
        </p:spPr>
        <p:txBody>
          <a:bodyPr wrap="square" rtlCol="0">
            <a:spAutoFit/>
          </a:bodyPr>
          <a:lstStyle/>
          <a:p>
            <a:pPr>
              <a:lnSpc>
                <a:spcPct val="150000"/>
              </a:lnSpc>
            </a:pPr>
            <a:r>
              <a:rPr sz="2000">
                <a:solidFill>
                  <a:schemeClr val="dk1"/>
                </a:solidFill>
              </a:rPr>
              <a:t>（3）切勿接触天线、水管、铁丝网、金属门窗、建筑物外墙等带电设备或其它类似金属装置，不要收晒衣绳或铁丝上的衣服。不要从事电话或电线、管道或建筑钢材等安装工作。切勿处理开口容器承载的易燃物品。</a:t>
            </a:r>
            <a:endParaRPr sz="2000">
              <a:solidFill>
                <a:schemeClr val="dk1"/>
              </a:solidFill>
            </a:endParaRPr>
          </a:p>
          <a:p>
            <a:pPr>
              <a:lnSpc>
                <a:spcPct val="150000"/>
              </a:lnSpc>
            </a:pPr>
            <a:r>
              <a:rPr sz="2000">
                <a:solidFill>
                  <a:schemeClr val="dk1"/>
                </a:solidFill>
              </a:rPr>
              <a:t>（4）不要或减少使用电话和手提电话，不宜停留在铁栅栏、金属晒衣绳以及铁轨附近，切勿站立于山顶、楼顶上或接近导电性高的物体。不宜进入和靠近无防雷设施的建筑物、车库、车棚、临时棚屋、岗亭等低矮建筑。</a:t>
            </a:r>
            <a:endParaRPr sz="2000">
              <a:solidFill>
                <a:schemeClr val="dk1"/>
              </a:solidFill>
            </a:endParaRPr>
          </a:p>
          <a:p>
            <a:pPr>
              <a:lnSpc>
                <a:spcPct val="150000"/>
              </a:lnSpc>
            </a:pPr>
            <a:r>
              <a:rPr sz="2000">
                <a:solidFill>
                  <a:schemeClr val="dk1"/>
                </a:solidFill>
              </a:rPr>
              <a:t>（5）切勿游泳或从事其它水上运动或活动，不宜停留在游泳池、湖泊、海滨、水田等地和小船上。不宜进行室外球类运动，在空旷场地不宜打伞，不宜把锄头、铁锹、羽毛球拍、钓鱼杆、高尔夫球杆等扛在肩上。</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6）如果在雷电交加时，头、颈、手处有蚂蚁爬走感，头发竖起，说明将发生雷击，应赶紧趴在地上，这样可以减少遭雷击的危险，并拿去身上佩戴的金属饰品和发卡、项链等。等雷电过后，呼叫别人救护。</a:t>
            </a:r>
            <a:endParaRPr sz="2000">
              <a:solidFill>
                <a:schemeClr val="dk1"/>
              </a:solidFill>
            </a:endParaRPr>
          </a:p>
          <a:p>
            <a:pPr>
              <a:lnSpc>
                <a:spcPct val="150000"/>
              </a:lnSpc>
            </a:pPr>
            <a:r>
              <a:rPr sz="2000">
                <a:solidFill>
                  <a:schemeClr val="dk1"/>
                </a:solidFill>
              </a:rPr>
              <a:t>（7）不宜骑马、骑自行车、驾驶摩托车和敞篷拖拉机，汽车往往是极好的避雷设施，因有屏蔽作用，即使被闪电击中汽车，也不会伤人。</a:t>
            </a:r>
            <a:endParaRPr sz="2000">
              <a:solidFill>
                <a:schemeClr val="dk1"/>
              </a:solidFill>
            </a:endParaRPr>
          </a:p>
          <a:p>
            <a:pPr>
              <a:lnSpc>
                <a:spcPct val="150000"/>
              </a:lnSpc>
            </a:pPr>
            <a:r>
              <a:rPr sz="2000">
                <a:solidFill>
                  <a:schemeClr val="dk1"/>
                </a:solidFill>
              </a:rPr>
              <a:t>（8）如果在户外看到高压线遭雷击断裂，此时应提高警惕，因为高压线断点附近存在“跨步电压”，身处附近的人此时千万不要跑动，而应双脚并拢，跳离现场。</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3784600"/>
          </a:xfrm>
          <a:prstGeom prst="rect">
            <a:avLst/>
          </a:prstGeom>
          <a:noFill/>
        </p:spPr>
        <p:txBody>
          <a:bodyPr wrap="square" rtlCol="0">
            <a:spAutoFit/>
          </a:bodyPr>
          <a:lstStyle/>
          <a:p>
            <a:pPr>
              <a:lnSpc>
                <a:spcPct val="150000"/>
              </a:lnSpc>
            </a:pPr>
            <a:r>
              <a:rPr sz="2000">
                <a:solidFill>
                  <a:schemeClr val="dk1"/>
                </a:solidFill>
              </a:rPr>
              <a:t>（9）如果在户外遭遇雷雨，来不及离开高大物体时，应马上找些干燥的绝缘物放在地上，并将双脚合拢坐在上面，切勿将脚放在绝缘物以外的地面上，因为水能导电。</a:t>
            </a:r>
            <a:endParaRPr sz="2000">
              <a:solidFill>
                <a:schemeClr val="dk1"/>
              </a:solidFill>
            </a:endParaRPr>
          </a:p>
          <a:p>
            <a:pPr>
              <a:lnSpc>
                <a:spcPct val="150000"/>
              </a:lnSpc>
            </a:pPr>
            <a:r>
              <a:rPr sz="2000">
                <a:solidFill>
                  <a:schemeClr val="dk1"/>
                </a:solidFill>
              </a:rPr>
              <a:t>（10）在户外躲避雷雨时，应注意不要用手撑地，同时双手抱膝，胸口紧贴膝盖，尽量低下头，因为头部较之身体其他部位最易遭到雷击。</a:t>
            </a:r>
            <a:endParaRPr sz="2000">
              <a:solidFill>
                <a:schemeClr val="dk1"/>
              </a:solidFill>
            </a:endParaRPr>
          </a:p>
          <a:p>
            <a:pPr>
              <a:lnSpc>
                <a:spcPct val="150000"/>
              </a:lnSpc>
            </a:pPr>
            <a:r>
              <a:rPr sz="2000">
                <a:solidFill>
                  <a:schemeClr val="dk1"/>
                </a:solidFill>
              </a:rPr>
              <a:t>（11）当在户外看见闪电几秒钟内就听见雷声时，说明正处于危险环境，此时应停止行走，两脚并拢并立即下蹲，不要与人拉在一起，最好使用塑料雨具、雨衣等。</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雷电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13691" y="1143000"/>
            <a:ext cx="7421880" cy="2414905"/>
          </a:xfrm>
          <a:prstGeom prst="rect">
            <a:avLst/>
          </a:prstGeom>
          <a:noFill/>
        </p:spPr>
        <p:txBody>
          <a:bodyPr wrap="square" rtlCol="0" anchor="t">
            <a:spAutoFit/>
          </a:bodyPr>
          <a:lstStyle/>
          <a:p>
            <a:pPr indent="304800" algn="just">
              <a:lnSpc>
                <a:spcPct val="140000"/>
              </a:lnSpc>
            </a:pP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博富特培训已拥有专业且强大的培训师团队</a:t>
            </a:r>
            <a:r>
              <a:rPr lang="en-US" dirty="0">
                <a:solidFill>
                  <a:srgbClr val="000000"/>
                </a:solidFill>
                <a:latin typeface="微软雅黑" panose="020B0503020204020204" charset="-122"/>
                <a:ea typeface="微软雅黑" panose="020B0503020204020204" charset="-122"/>
                <a:cs typeface="宋体" panose="02010600030101010101" pitchFamily="2" charset="-122"/>
                <a:sym typeface="+mn-ea"/>
              </a:rPr>
              <a:t>-</a:t>
            </a: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旗下培训师都拥有丰富的国际大公司生产一线及管理岗位工作经验，接受过系统的培训师培训、训练及能力评估，能够开发并讲授从高层管理到基层安全技术、技能培训等一系列课程。</a:t>
            </a:r>
            <a:endParaRPr lang="zh-CN" dirty="0">
              <a:solidFill>
                <a:srgbClr val="000000"/>
              </a:solidFill>
              <a:latin typeface="微软雅黑" panose="020B0503020204020204" charset="-122"/>
              <a:ea typeface="微软雅黑" panose="020B0503020204020204" charset="-122"/>
              <a:cs typeface="宋体" panose="02010600030101010101" pitchFamily="2" charset="-122"/>
            </a:endParaRPr>
          </a:p>
          <a:p>
            <a:pPr indent="304800" algn="just">
              <a:lnSpc>
                <a:spcPct val="140000"/>
              </a:lnSpc>
            </a:pPr>
            <a:r>
              <a:rPr lang="en-US" alt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 </a:t>
            </a:r>
            <a:r>
              <a:rPr lang="zh-CN" dirty="0">
                <a:solidFill>
                  <a:srgbClr val="000000"/>
                </a:solidFill>
                <a:latin typeface="微软雅黑" panose="020B0503020204020204" charset="-122"/>
                <a:ea typeface="微软雅黑" panose="020B0503020204020204" charset="-122"/>
                <a:cs typeface="宋体" panose="02010600030101010101" pitchFamily="2" charset="-122"/>
                <a:sym typeface="+mn-ea"/>
              </a:rPr>
              <a:t>我们致力于为客户提供高品质且实用性强的培训服务，为企业提供有效且针对性强的定制性培训服务，满足不同行业、不同人群的培训需求。</a:t>
            </a:r>
            <a:endParaRPr lang="zh-CN" altLang="en-US" dirty="0">
              <a:solidFill>
                <a:srgbClr val="000000"/>
              </a:solidFill>
              <a:latin typeface="微软雅黑" panose="020B0503020204020204" charset="-122"/>
              <a:ea typeface="微软雅黑" panose="020B0503020204020204" charset="-122"/>
              <a:cs typeface="宋体" panose="02010600030101010101" pitchFamily="2" charset="-122"/>
              <a:sym typeface="+mn-ea"/>
            </a:endParaRPr>
          </a:p>
        </p:txBody>
      </p:sp>
      <p:sp>
        <p:nvSpPr>
          <p:cNvPr id="3" name="文本框 2"/>
          <p:cNvSpPr txBox="1"/>
          <p:nvPr>
            <p:custDataLst>
              <p:tags r:id="rId1"/>
            </p:custDataLst>
          </p:nvPr>
        </p:nvSpPr>
        <p:spPr>
          <a:xfrm>
            <a:off x="4572000" y="4343400"/>
            <a:ext cx="6864985" cy="1476375"/>
          </a:xfrm>
          <a:prstGeom prst="rect">
            <a:avLst/>
          </a:prstGeom>
          <a:noFill/>
        </p:spPr>
        <p:txBody>
          <a:bodyPr wrap="square" rtlCol="0" anchor="t">
            <a:spAutoFit/>
          </a:bodyPr>
          <a:lstStyle/>
          <a:p>
            <a:pPr>
              <a:lnSpc>
                <a:spcPct val="150000"/>
              </a:lnSpc>
            </a:pPr>
            <a:r>
              <a:rPr lang="en-US" altLang="zh-CN" b="1" dirty="0">
                <a:solidFill>
                  <a:schemeClr val="dk1"/>
                </a:solidFill>
                <a:latin typeface="+mn-ea"/>
                <a:cs typeface="楷体" panose="02010609060101010101" charset="-122"/>
                <a:sym typeface="+mn-ea"/>
              </a:rPr>
              <a:t>   </a:t>
            </a:r>
            <a:r>
              <a:rPr lang="zh-CN" altLang="en-US" sz="2000" b="1" dirty="0">
                <a:solidFill>
                  <a:schemeClr val="dk1"/>
                </a:solidFill>
                <a:latin typeface="+mn-ea"/>
                <a:cs typeface="宋体" panose="02010600030101010101" pitchFamily="2" charset="-122"/>
                <a:sym typeface="+mn-ea"/>
              </a:rPr>
              <a:t>博富特认为：一个好的培训课程起始于一个好的设计</a:t>
            </a:r>
            <a:r>
              <a:rPr lang="en-US" altLang="zh-CN" sz="2000" b="1" dirty="0">
                <a:solidFill>
                  <a:schemeClr val="dk1"/>
                </a:solidFill>
                <a:latin typeface="+mn-ea"/>
                <a:cs typeface="宋体" panose="02010600030101010101" pitchFamily="2" charset="-122"/>
                <a:sym typeface="+mn-ea"/>
              </a:rPr>
              <a:t>,</a:t>
            </a:r>
            <a:r>
              <a:rPr lang="zh-CN" altLang="en-US" sz="2000" b="1" dirty="0">
                <a:solidFill>
                  <a:schemeClr val="dk1"/>
                </a:solidFill>
                <a:latin typeface="+mn-ea"/>
                <a:cs typeface="宋体" panose="02010600030101010101" pitchFamily="2" charset="-122"/>
                <a:sym typeface="+mn-ea"/>
              </a:rPr>
              <a:t>课程设计注重培训目的、培训对象、逻辑关系、各章节具体产出和培训方法应用等关键问题。</a:t>
            </a:r>
            <a:endParaRPr lang="zh-CN" altLang="en-US" sz="2000" b="1" dirty="0">
              <a:solidFill>
                <a:schemeClr val="dk1"/>
              </a:solidFill>
              <a:latin typeface="+mn-ea"/>
              <a:cs typeface="宋体" panose="02010600030101010101" pitchFamily="2" charset="-122"/>
              <a:sym typeface="+mn-ea"/>
            </a:endParaRPr>
          </a:p>
        </p:txBody>
      </p:sp>
      <p:pic>
        <p:nvPicPr>
          <p:cNvPr id="4" name="http://photo-static-api.fotomore.com/creative/vcg/veer/400/new/VCG41N492573603.jpg" descr="&amp;pky220_sjzg_VCG41N492573603&amp;2&amp;src_replace_replace1&amp;"/>
          <p:cNvPicPr/>
          <p:nvPr/>
        </p:nvPicPr>
        <p:blipFill>
          <a:blip r:embed="rId2"/>
          <a:srcRect/>
          <a:stretch>
            <a:fillRect/>
          </a:stretch>
        </p:blipFill>
        <p:spPr>
          <a:xfrm>
            <a:off x="479489" y="3962400"/>
            <a:ext cx="3763645" cy="2508504"/>
          </a:xfrm>
          <a:prstGeom prst="rect">
            <a:avLst/>
          </a:prstGeom>
        </p:spPr>
      </p:pic>
      <p:pic>
        <p:nvPicPr>
          <p:cNvPr id="5" name="http://photo-static-api.fotomore.com/creative/vcg/400/new/VCG41N842001834.jpg" descr="&amp;pky230_sjzg_VCG41N842001834&amp;2&amp;src_replace_replace1&amp;"/>
          <p:cNvPicPr/>
          <p:nvPr/>
        </p:nvPicPr>
        <p:blipFill>
          <a:blip r:embed="rId3"/>
          <a:srcRect/>
          <a:stretch>
            <a:fillRect/>
          </a:stretch>
        </p:blipFill>
        <p:spPr>
          <a:xfrm>
            <a:off x="8134033" y="1143000"/>
            <a:ext cx="3745865" cy="2496820"/>
          </a:xfrm>
          <a:prstGeom prst="rect">
            <a:avLst/>
          </a:prstGeom>
        </p:spPr>
      </p:pic>
      <p:sp>
        <p:nvSpPr>
          <p:cNvPr id="6" name="标题 3"/>
          <p:cNvSpPr txBox="1"/>
          <p:nvPr/>
        </p:nvSpPr>
        <p:spPr>
          <a:xfrm>
            <a:off x="119380" y="188595"/>
            <a:ext cx="6815455" cy="596900"/>
          </a:xfrm>
          <a:prstGeom prst="rect">
            <a:avLst/>
          </a:prstGeom>
        </p:spPr>
        <p:txBody>
          <a:bodyPr/>
          <a:lstStyle>
            <a:lvl1pPr algn="l" defTabSz="914400" rtl="0" eaLnBrk="1" fontAlgn="auto" latinLnBrk="0" hangingPunct="1">
              <a:lnSpc>
                <a:spcPct val="10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charset="-122"/>
                <a:cs typeface="+mj-cs"/>
              </a:defRPr>
            </a:lvl1pPr>
          </a:lstStyle>
          <a:p>
            <a:pPr>
              <a:spcAft>
                <a:spcPts val="0"/>
              </a:spcAft>
            </a:pPr>
            <a:r>
              <a:rPr lang="zh-CN" altLang="en-US" sz="2800" dirty="0">
                <a:solidFill>
                  <a:schemeClr val="accent1">
                    <a:lumMod val="75000"/>
                  </a:schemeClr>
                </a:solidFill>
                <a:latin typeface="微软雅黑" panose="020B0503020204020204" charset="-122"/>
                <a:sym typeface="宋体" panose="02010600030101010101" pitchFamily="2" charset="-122"/>
              </a:rPr>
              <a:t>关于博富特</a:t>
            </a:r>
            <a:endParaRPr lang="zh-CN" altLang="en-US" sz="2800" dirty="0">
              <a:solidFill>
                <a:schemeClr val="accent1">
                  <a:lumMod val="75000"/>
                </a:schemeClr>
              </a:solidFill>
              <a:latin typeface="微软雅黑" panose="020B0503020204020204" charset="-122"/>
              <a:sym typeface="宋体" panose="02010600030101010101" pitchFamily="2" charset="-122"/>
            </a:endParaRPr>
          </a:p>
        </p:txBody>
      </p:sp>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803195" y="188595"/>
            <a:ext cx="1197461" cy="604737"/>
          </a:xfrm>
          <a:prstGeom prst="rect">
            <a:avLst/>
          </a:prstGeom>
        </p:spPr>
      </p:pic>
    </p:spTree>
    <p:custDataLst>
      <p:tags r:id="rId5"/>
    </p:custDataLst>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7541895" y="2865120"/>
            <a:ext cx="4160520" cy="2948940"/>
            <a:chOff x="11877" y="4512"/>
            <a:chExt cx="5588" cy="4644"/>
          </a:xfrm>
        </p:grpSpPr>
        <p:sp>
          <p:nvSpPr>
            <p:cNvPr id="3" name="任意多边形 2"/>
            <p:cNvSpPr/>
            <p:nvPr>
              <p:custDataLst>
                <p:tags r:id="rId1"/>
              </p:custDataLst>
            </p:nvPr>
          </p:nvSpPr>
          <p:spPr>
            <a:xfrm>
              <a:off x="11877" y="4512"/>
              <a:ext cx="5589" cy="4644"/>
            </a:xfrm>
            <a:custGeom>
              <a:avLst/>
              <a:gdLst>
                <a:gd name="connsiteX0" fmla="*/ 0 w 5589"/>
                <a:gd name="connsiteY0" fmla="*/ 4644 h 4644"/>
                <a:gd name="connsiteX1" fmla="*/ 2106 w 5589"/>
                <a:gd name="connsiteY1" fmla="*/ 0 h 4644"/>
                <a:gd name="connsiteX2" fmla="*/ 4521 w 5589"/>
                <a:gd name="connsiteY2" fmla="*/ 41 h 4644"/>
                <a:gd name="connsiteX3" fmla="*/ 5589 w 5589"/>
                <a:gd name="connsiteY3" fmla="*/ 4644 h 4644"/>
                <a:gd name="connsiteX4" fmla="*/ 0 w 5589"/>
                <a:gd name="connsiteY4" fmla="*/ 4644 h 4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89" h="4644">
                  <a:moveTo>
                    <a:pt x="0" y="4644"/>
                  </a:moveTo>
                  <a:lnTo>
                    <a:pt x="2106" y="0"/>
                  </a:lnTo>
                  <a:lnTo>
                    <a:pt x="4521" y="41"/>
                  </a:lnTo>
                  <a:lnTo>
                    <a:pt x="5589" y="4644"/>
                  </a:lnTo>
                  <a:lnTo>
                    <a:pt x="0" y="4644"/>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cxnSp>
          <p:nvCxnSpPr>
            <p:cNvPr id="16" name="直接连接符 15"/>
            <p:cNvCxnSpPr/>
            <p:nvPr>
              <p:custDataLst>
                <p:tags r:id="rId2"/>
              </p:custDataLst>
            </p:nvPr>
          </p:nvCxnSpPr>
          <p:spPr>
            <a:xfrm flipH="1">
              <a:off x="14672" y="4512"/>
              <a:ext cx="493" cy="4644"/>
            </a:xfrm>
            <a:prstGeom prst="line">
              <a:avLst/>
            </a:prstGeom>
            <a:ln w="76200">
              <a:solidFill>
                <a:schemeClr val="lt1"/>
              </a:solidFill>
              <a:prstDash val="dash"/>
            </a:ln>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3"/>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4"/>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5"/>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6"/>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7"/>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8"/>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大雾天气</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9"/>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10"/>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11"/>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2"/>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3"/>
            </p:custDataLst>
          </p:nvPr>
        </p:nvSpPr>
        <p:spPr>
          <a:xfrm>
            <a:off x="704850" y="1770380"/>
            <a:ext cx="5770245" cy="4246245"/>
          </a:xfrm>
          <a:prstGeom prst="rect">
            <a:avLst/>
          </a:prstGeom>
          <a:noFill/>
        </p:spPr>
        <p:txBody>
          <a:bodyPr wrap="square" rtlCol="0">
            <a:spAutoFit/>
          </a:bodyPr>
          <a:lstStyle/>
          <a:p>
            <a:pPr>
              <a:lnSpc>
                <a:spcPct val="150000"/>
              </a:lnSpc>
            </a:pPr>
            <a:r>
              <a:rPr sz="2000">
                <a:solidFill>
                  <a:schemeClr val="dk1"/>
                </a:solidFill>
              </a:rPr>
              <a:t>大雾天气应尽量减少户外活动，尤其是一些剧烈的活动，要多饮水，注意休息，如果必须外出一定要戴上口罩，外出回来后应该立即清洗面部及裸露的肌肤。大雾来临时，应暂停晨练，早晨一般是雾最浓的时候，此时锻炼将吸入大量有害物质，造成咽喉、气管和眼结膜病症；避免在雾中长时间跑动，由于雾中水汽多，氧气含量相对较小，而人长时间跑动时供氧需求激增，容易出现头晕、恶心、乏力等症状。</a:t>
            </a:r>
            <a:endParaRPr sz="2000">
              <a:solidFill>
                <a:schemeClr val="dk1"/>
              </a:solidFill>
            </a:endParaRPr>
          </a:p>
        </p:txBody>
      </p:sp>
      <p:grpSp>
        <p:nvGrpSpPr>
          <p:cNvPr id="37" name="组合 36"/>
          <p:cNvGrpSpPr/>
          <p:nvPr/>
        </p:nvGrpSpPr>
        <p:grpSpPr>
          <a:xfrm>
            <a:off x="8092440" y="3906520"/>
            <a:ext cx="1699260" cy="969645"/>
            <a:chOff x="11562" y="6851"/>
            <a:chExt cx="4110" cy="2388"/>
          </a:xfrm>
        </p:grpSpPr>
        <p:grpSp>
          <p:nvGrpSpPr>
            <p:cNvPr id="28" name="组合 27"/>
            <p:cNvGrpSpPr/>
            <p:nvPr/>
          </p:nvGrpSpPr>
          <p:grpSpPr>
            <a:xfrm>
              <a:off x="11971" y="8505"/>
              <a:ext cx="3291" cy="734"/>
              <a:chOff x="11971" y="8505"/>
              <a:chExt cx="3291" cy="734"/>
            </a:xfrm>
            <a:solidFill>
              <a:schemeClr val="tx1">
                <a:lumMod val="65000"/>
                <a:lumOff val="35000"/>
              </a:schemeClr>
            </a:solidFill>
          </p:grpSpPr>
          <p:sp>
            <p:nvSpPr>
              <p:cNvPr id="26" name="圆角矩形 25"/>
              <p:cNvSpPr/>
              <p:nvPr>
                <p:custDataLst>
                  <p:tags r:id="rId14"/>
                </p:custDataLst>
              </p:nvPr>
            </p:nvSpPr>
            <p:spPr>
              <a:xfrm>
                <a:off x="11971"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圆角矩形 26"/>
              <p:cNvSpPr/>
              <p:nvPr>
                <p:custDataLst>
                  <p:tags r:id="rId15"/>
                </p:custDataLst>
              </p:nvPr>
            </p:nvSpPr>
            <p:spPr>
              <a:xfrm>
                <a:off x="14804"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5" name="同侧圆角矩形 4"/>
            <p:cNvSpPr/>
            <p:nvPr>
              <p:custDataLst>
                <p:tags r:id="rId16"/>
              </p:custDataLst>
            </p:nvPr>
          </p:nvSpPr>
          <p:spPr>
            <a:xfrm>
              <a:off x="11971" y="6851"/>
              <a:ext cx="3292" cy="1109"/>
            </a:xfrm>
            <a:prstGeom prst="round2SameRect">
              <a:avLst>
                <a:gd name="adj1" fmla="val 50000"/>
                <a:gd name="adj2" fmla="val 0"/>
              </a:avLst>
            </a:prstGeom>
            <a:solidFill>
              <a:schemeClr val="dk1">
                <a:lumMod val="65000"/>
                <a:lumOff val="3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圆角矩形 5"/>
            <p:cNvSpPr/>
            <p:nvPr>
              <p:custDataLst>
                <p:tags r:id="rId17"/>
              </p:custDataLst>
            </p:nvPr>
          </p:nvSpPr>
          <p:spPr>
            <a:xfrm>
              <a:off x="11562" y="7960"/>
              <a:ext cx="4111" cy="917"/>
            </a:xfrm>
            <a:prstGeom prst="roundRect">
              <a:avLst>
                <a:gd name="adj" fmla="val 50000"/>
              </a:avLst>
            </a:prstGeom>
            <a:solidFill>
              <a:schemeClr val="dk1">
                <a:lumMod val="50000"/>
                <a:lumOff val="50000"/>
              </a:schemeClr>
            </a:solidFill>
            <a:ln>
              <a:solidFill>
                <a:schemeClr val="l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同侧圆角矩形 6"/>
            <p:cNvSpPr/>
            <p:nvPr>
              <p:custDataLst>
                <p:tags r:id="rId18"/>
              </p:custDataLst>
            </p:nvPr>
          </p:nvSpPr>
          <p:spPr>
            <a:xfrm>
              <a:off x="12234" y="6986"/>
              <a:ext cx="2766" cy="953"/>
            </a:xfrm>
            <a:prstGeom prst="round2SameRect">
              <a:avLst>
                <a:gd name="adj1" fmla="val 50000"/>
                <a:gd name="adj2" fmla="val 0"/>
              </a:avLst>
            </a:prstGeom>
            <a:solidFill>
              <a:schemeClr val="lt1">
                <a:lumMod val="8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9"/>
              </p:custDataLst>
            </p:nvPr>
          </p:nvSpPr>
          <p:spPr>
            <a:xfrm>
              <a:off x="13257" y="7103"/>
              <a:ext cx="721" cy="487"/>
            </a:xfrm>
            <a:custGeom>
              <a:avLst/>
              <a:gdLst>
                <a:gd name="connisteX0" fmla="*/ 309245 w 457835"/>
                <a:gd name="connsiteY0" fmla="*/ 0 h 309245"/>
                <a:gd name="connisteX1" fmla="*/ 0 w 457835"/>
                <a:gd name="connsiteY1" fmla="*/ 148590 h 309245"/>
                <a:gd name="connisteX2" fmla="*/ 247015 w 457835"/>
                <a:gd name="connsiteY2" fmla="*/ 234950 h 309245"/>
                <a:gd name="connisteX3" fmla="*/ 111125 w 457835"/>
                <a:gd name="connsiteY3" fmla="*/ 297180 h 309245"/>
                <a:gd name="connisteX4" fmla="*/ 259715 w 457835"/>
                <a:gd name="connsiteY4" fmla="*/ 309245 h 309245"/>
                <a:gd name="connisteX5" fmla="*/ 346075 w 457835"/>
                <a:gd name="connsiteY5" fmla="*/ 161290 h 309245"/>
                <a:gd name="connisteX6" fmla="*/ 210185 w 457835"/>
                <a:gd name="connsiteY6" fmla="*/ 111760 h 309245"/>
                <a:gd name="connisteX7" fmla="*/ 457835 w 457835"/>
                <a:gd name="connsiteY7" fmla="*/ 12700 h 309245"/>
                <a:gd name="connisteX8" fmla="*/ 309245 w 457835"/>
                <a:gd name="connsiteY8" fmla="*/ 0 h 30924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57835" h="309245">
                  <a:moveTo>
                    <a:pt x="309245" y="0"/>
                  </a:moveTo>
                  <a:lnTo>
                    <a:pt x="0" y="148590"/>
                  </a:lnTo>
                  <a:lnTo>
                    <a:pt x="247015" y="234950"/>
                  </a:lnTo>
                  <a:lnTo>
                    <a:pt x="111125" y="297180"/>
                  </a:lnTo>
                  <a:lnTo>
                    <a:pt x="259715" y="309245"/>
                  </a:lnTo>
                  <a:lnTo>
                    <a:pt x="346075" y="161290"/>
                  </a:lnTo>
                  <a:lnTo>
                    <a:pt x="210185" y="111760"/>
                  </a:lnTo>
                  <a:lnTo>
                    <a:pt x="457835" y="12700"/>
                  </a:lnTo>
                  <a:lnTo>
                    <a:pt x="309245" y="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20"/>
              </p:custDataLst>
            </p:nvPr>
          </p:nvSpPr>
          <p:spPr>
            <a:xfrm>
              <a:off x="13589" y="7336"/>
              <a:ext cx="700" cy="603"/>
            </a:xfrm>
            <a:custGeom>
              <a:avLst/>
              <a:gdLst>
                <a:gd name="connisteX0" fmla="*/ 0 w 272415"/>
                <a:gd name="connsiteY0" fmla="*/ 173355 h 235585"/>
                <a:gd name="connisteX1" fmla="*/ 198120 w 272415"/>
                <a:gd name="connsiteY1" fmla="*/ 0 h 235585"/>
                <a:gd name="connisteX2" fmla="*/ 272415 w 272415"/>
                <a:gd name="connsiteY2" fmla="*/ 49530 h 235585"/>
                <a:gd name="connisteX3" fmla="*/ 37465 w 272415"/>
                <a:gd name="connsiteY3" fmla="*/ 235585 h 235585"/>
                <a:gd name="connisteX4" fmla="*/ 0 w 272415"/>
                <a:gd name="connsiteY4" fmla="*/ 173355 h 23558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72415" h="235585">
                  <a:moveTo>
                    <a:pt x="0" y="173355"/>
                  </a:moveTo>
                  <a:lnTo>
                    <a:pt x="198120" y="0"/>
                  </a:lnTo>
                  <a:lnTo>
                    <a:pt x="272415" y="49530"/>
                  </a:lnTo>
                  <a:lnTo>
                    <a:pt x="37465" y="235585"/>
                  </a:lnTo>
                  <a:lnTo>
                    <a:pt x="0" y="173355"/>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5" name="组合 24"/>
            <p:cNvGrpSpPr/>
            <p:nvPr/>
          </p:nvGrpSpPr>
          <p:grpSpPr>
            <a:xfrm>
              <a:off x="12572" y="7283"/>
              <a:ext cx="630" cy="761"/>
              <a:chOff x="12572" y="7259"/>
              <a:chExt cx="630" cy="761"/>
            </a:xfrm>
            <a:solidFill>
              <a:schemeClr val="bg2">
                <a:lumMod val="25000"/>
              </a:schemeClr>
            </a:solidFill>
          </p:grpSpPr>
          <p:sp>
            <p:nvSpPr>
              <p:cNvPr id="15" name="椭圆 14"/>
              <p:cNvSpPr/>
              <p:nvPr>
                <p:custDataLst>
                  <p:tags r:id="rId21"/>
                </p:custDataLst>
              </p:nvPr>
            </p:nvSpPr>
            <p:spPr>
              <a:xfrm>
                <a:off x="12633" y="7259"/>
                <a:ext cx="507" cy="429"/>
              </a:xfrm>
              <a:prstGeom prst="ellipse">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22"/>
                </p:custDataLst>
              </p:nvPr>
            </p:nvSpPr>
            <p:spPr>
              <a:xfrm>
                <a:off x="12572" y="7687"/>
                <a:ext cx="631" cy="232"/>
              </a:xfrm>
              <a:custGeom>
                <a:avLst/>
                <a:gdLst>
                  <a:gd name="connisteX0" fmla="*/ 90170 w 400685"/>
                  <a:gd name="connsiteY0" fmla="*/ 0 h 147320"/>
                  <a:gd name="connisteX1" fmla="*/ 0 w 400685"/>
                  <a:gd name="connsiteY1" fmla="*/ 78105 h 147320"/>
                  <a:gd name="connisteX2" fmla="*/ 118745 w 400685"/>
                  <a:gd name="connsiteY2" fmla="*/ 147320 h 147320"/>
                  <a:gd name="connisteX3" fmla="*/ 16510 w 400685"/>
                  <a:gd name="connsiteY3" fmla="*/ 81915 h 147320"/>
                  <a:gd name="connisteX4" fmla="*/ 139065 w 400685"/>
                  <a:gd name="connsiteY4" fmla="*/ 4445 h 147320"/>
                  <a:gd name="connisteX5" fmla="*/ 310515 w 400685"/>
                  <a:gd name="connsiteY5" fmla="*/ 8255 h 147320"/>
                  <a:gd name="connisteX6" fmla="*/ 380365 w 400685"/>
                  <a:gd name="connsiteY6" fmla="*/ 57785 h 147320"/>
                  <a:gd name="connisteX7" fmla="*/ 273685 w 400685"/>
                  <a:gd name="connsiteY7" fmla="*/ 143510 h 147320"/>
                  <a:gd name="connisteX8" fmla="*/ 400685 w 400685"/>
                  <a:gd name="connsiteY8" fmla="*/ 65405 h 147320"/>
                  <a:gd name="connisteX9" fmla="*/ 323215 w 400685"/>
                  <a:gd name="connsiteY9" fmla="*/ 0 h 147320"/>
                  <a:gd name="connisteX10" fmla="*/ 90170 w 400685"/>
                  <a:gd name="connsiteY10" fmla="*/ 0 h 14732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00685" h="147320">
                    <a:moveTo>
                      <a:pt x="90170" y="0"/>
                    </a:moveTo>
                    <a:lnTo>
                      <a:pt x="0" y="78105"/>
                    </a:lnTo>
                    <a:lnTo>
                      <a:pt x="118745" y="147320"/>
                    </a:lnTo>
                    <a:lnTo>
                      <a:pt x="16510" y="81915"/>
                    </a:lnTo>
                    <a:lnTo>
                      <a:pt x="139065" y="4445"/>
                    </a:lnTo>
                    <a:lnTo>
                      <a:pt x="310515" y="8255"/>
                    </a:lnTo>
                    <a:lnTo>
                      <a:pt x="380365" y="57785"/>
                    </a:lnTo>
                    <a:lnTo>
                      <a:pt x="273685" y="143510"/>
                    </a:lnTo>
                    <a:lnTo>
                      <a:pt x="400685" y="65405"/>
                    </a:lnTo>
                    <a:lnTo>
                      <a:pt x="323215" y="0"/>
                    </a:lnTo>
                    <a:lnTo>
                      <a:pt x="90170" y="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空心弧 23"/>
              <p:cNvSpPr/>
              <p:nvPr>
                <p:custDataLst>
                  <p:tags r:id="rId23"/>
                </p:custDataLst>
              </p:nvPr>
            </p:nvSpPr>
            <p:spPr>
              <a:xfrm>
                <a:off x="12759" y="7802"/>
                <a:ext cx="257" cy="219"/>
              </a:xfrm>
              <a:prstGeom prst="blockArc">
                <a:avLst/>
              </a:prstGeom>
              <a:solidFill>
                <a:schemeClr val="lt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
          <p:nvSpPr>
            <p:cNvPr id="30" name="同心圆 29"/>
            <p:cNvSpPr/>
            <p:nvPr>
              <p:custDataLst>
                <p:tags r:id="rId24"/>
              </p:custDataLst>
            </p:nvPr>
          </p:nvSpPr>
          <p:spPr>
            <a:xfrm>
              <a:off x="11886"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1" name="同心圆 30"/>
            <p:cNvSpPr/>
            <p:nvPr>
              <p:custDataLst>
                <p:tags r:id="rId25"/>
              </p:custDataLst>
            </p:nvPr>
          </p:nvSpPr>
          <p:spPr>
            <a:xfrm>
              <a:off x="14719"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nvGrpSpPr>
            <p:cNvPr id="36" name="组合 35"/>
            <p:cNvGrpSpPr/>
            <p:nvPr/>
          </p:nvGrpSpPr>
          <p:grpSpPr>
            <a:xfrm>
              <a:off x="12988" y="8223"/>
              <a:ext cx="1484" cy="390"/>
              <a:chOff x="12987" y="8848"/>
              <a:chExt cx="1484" cy="390"/>
            </a:xfrm>
            <a:noFill/>
          </p:grpSpPr>
          <p:sp>
            <p:nvSpPr>
              <p:cNvPr id="32" name="圆角矩形 31"/>
              <p:cNvSpPr/>
              <p:nvPr>
                <p:custDataLst>
                  <p:tags r:id="rId26"/>
                </p:custDataLst>
              </p:nvPr>
            </p:nvSpPr>
            <p:spPr>
              <a:xfrm>
                <a:off x="12987" y="8848"/>
                <a:ext cx="148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圆角矩形 32"/>
              <p:cNvSpPr/>
              <p:nvPr>
                <p:custDataLst>
                  <p:tags r:id="rId27"/>
                </p:custDataLst>
              </p:nvPr>
            </p:nvSpPr>
            <p:spPr>
              <a:xfrm>
                <a:off x="13126" y="8848"/>
                <a:ext cx="120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圆角矩形 33"/>
              <p:cNvSpPr/>
              <p:nvPr>
                <p:custDataLst>
                  <p:tags r:id="rId28"/>
                </p:custDataLst>
              </p:nvPr>
            </p:nvSpPr>
            <p:spPr>
              <a:xfrm>
                <a:off x="13351" y="8848"/>
                <a:ext cx="75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圆角矩形 34"/>
              <p:cNvSpPr/>
              <p:nvPr>
                <p:custDataLst>
                  <p:tags r:id="rId29"/>
                </p:custDataLst>
              </p:nvPr>
            </p:nvSpPr>
            <p:spPr>
              <a:xfrm>
                <a:off x="13482" y="8848"/>
                <a:ext cx="49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
        <p:nvSpPr>
          <p:cNvPr id="41" name="圆角矩形 40"/>
          <p:cNvSpPr/>
          <p:nvPr>
            <p:custDataLst>
              <p:tags r:id="rId30"/>
            </p:custDataLst>
          </p:nvPr>
        </p:nvSpPr>
        <p:spPr>
          <a:xfrm>
            <a:off x="6997700" y="1873250"/>
            <a:ext cx="4932680" cy="4279900"/>
          </a:xfrm>
          <a:prstGeom prst="roundRect">
            <a:avLst>
              <a:gd name="adj" fmla="val 10860"/>
            </a:avLst>
          </a:prstGeom>
          <a:solidFill>
            <a:schemeClr val="lt2">
              <a:alpha val="65000"/>
            </a:schemeClr>
          </a:solidFill>
          <a:ln>
            <a:noFill/>
          </a:ln>
          <a:effectLst>
            <a:outerShdw blurRad="406400" dist="50800" dir="5400000" algn="ctr"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31"/>
    </p:custDataLst>
  </p:cSld>
  <p:clrMapOvr>
    <a:masterClrMapping/>
  </p:clrMapOvr>
  <p:transition spd="slow">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1）饮食要注意清淡，少食刺激性食物。如有不适，可以预防性地服用一些感冒冲剂或含片等。同时，还要警惕“湿冷”病，冬季低温下出现大雾，阻碍人体正常蒸发散热量，对肾病、结合病和慢性腰腿病都有不利影响，容易诱发关节炎。因而要多穿衣服，注意防潮保暖。</a:t>
            </a:r>
            <a:endParaRPr sz="2000">
              <a:solidFill>
                <a:schemeClr val="dk1"/>
              </a:solidFill>
            </a:endParaRPr>
          </a:p>
          <a:p>
            <a:pPr>
              <a:lnSpc>
                <a:spcPct val="150000"/>
              </a:lnSpc>
            </a:pPr>
            <a:r>
              <a:rPr sz="2000">
                <a:solidFill>
                  <a:schemeClr val="dk1"/>
                </a:solidFill>
              </a:rPr>
              <a:t>（2）大雾天气容易造成一氧化碳中毒，靠室内煤炉取暖的人们要做好通风措施。</a:t>
            </a:r>
            <a:endParaRPr sz="2000">
              <a:solidFill>
                <a:schemeClr val="dk1"/>
              </a:solidFill>
            </a:endParaRPr>
          </a:p>
          <a:p>
            <a:pPr>
              <a:lnSpc>
                <a:spcPct val="150000"/>
              </a:lnSpc>
            </a:pPr>
            <a:r>
              <a:rPr sz="2000">
                <a:solidFill>
                  <a:schemeClr val="dk1"/>
                </a:solidFill>
              </a:rPr>
              <a:t>（3）大雾天气也会影响人的心情。心理专家表示，天气阴沉、气压减低，人的心情确实会受到一定影响，感觉情绪忧郁。如果出现这些负面情绪，应学会自身调整和平衡，比如做一些让自己感觉快乐的事情等。</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大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龙卷风</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5645150" cy="4246245"/>
          </a:xfrm>
          <a:prstGeom prst="rect">
            <a:avLst/>
          </a:prstGeom>
          <a:noFill/>
        </p:spPr>
        <p:txBody>
          <a:bodyPr wrap="square" rtlCol="0">
            <a:spAutoFit/>
          </a:bodyPr>
          <a:lstStyle/>
          <a:p>
            <a:pPr>
              <a:lnSpc>
                <a:spcPct val="150000"/>
              </a:lnSpc>
            </a:pPr>
            <a:r>
              <a:rPr sz="2000">
                <a:solidFill>
                  <a:schemeClr val="dk1"/>
                </a:solidFill>
              </a:rPr>
              <a:t>龙卷风是从卷积云向地面延伸的极具强烈破坏性的漏斗状旋转风。龙卷风的快速旋转速度可高达每小时500英里，并可在几秒钟内毁灭所有在它经过时遇到的东西。龙卷风的内部空气很稀薄，压力很低，就像一台巨大的吸尘器，以每小时数百英里的时速，把沿途的一切东西都吸到它的“漏斗”里，直到风力减弱，再把吸进来的东西抛出来。龙卷风是非常危险的。最强的龙卷风可以轻而易举地把房屋连同房屋内的一切抛向天空。</a:t>
            </a:r>
            <a:endParaRPr sz="2000">
              <a:solidFill>
                <a:schemeClr val="dk1"/>
              </a:solidFill>
            </a:endParaRPr>
          </a:p>
        </p:txBody>
      </p:sp>
      <p:grpSp>
        <p:nvGrpSpPr>
          <p:cNvPr id="24" name="组合 23"/>
          <p:cNvGrpSpPr/>
          <p:nvPr/>
        </p:nvGrpSpPr>
        <p:grpSpPr>
          <a:xfrm>
            <a:off x="7529830" y="1967865"/>
            <a:ext cx="4298950" cy="3168650"/>
            <a:chOff x="11858" y="2319"/>
            <a:chExt cx="6770" cy="5770"/>
          </a:xfrm>
          <a:solidFill>
            <a:schemeClr val="bg2">
              <a:lumMod val="50000"/>
            </a:schemeClr>
          </a:solidFill>
        </p:grpSpPr>
        <p:sp>
          <p:nvSpPr>
            <p:cNvPr id="3" name="任意多边形 2"/>
            <p:cNvSpPr/>
            <p:nvPr>
              <p:custDataLst>
                <p:tags r:id="rId12"/>
              </p:custDataLst>
            </p:nvPr>
          </p:nvSpPr>
          <p:spPr>
            <a:xfrm>
              <a:off x="13237" y="7175"/>
              <a:ext cx="1993" cy="915"/>
            </a:xfrm>
            <a:custGeom>
              <a:avLst/>
              <a:gdLst>
                <a:gd name="connisteX0" fmla="*/ 1094143 w 1265790"/>
                <a:gd name="connsiteY0" fmla="*/ 30882 h 581327"/>
                <a:gd name="connisteX1" fmla="*/ 76238 w 1265790"/>
                <a:gd name="connsiteY1" fmla="*/ 239797 h 581327"/>
                <a:gd name="connisteX2" fmla="*/ 259118 w 1265790"/>
                <a:gd name="connsiteY2" fmla="*/ 526817 h 581327"/>
                <a:gd name="connisteX3" fmla="*/ 1185583 w 1265790"/>
                <a:gd name="connsiteY3" fmla="*/ 566187 h 581327"/>
                <a:gd name="connisteX4" fmla="*/ 1094143 w 1265790"/>
                <a:gd name="connsiteY4" fmla="*/ 409342 h 581327"/>
                <a:gd name="connisteX5" fmla="*/ 520103 w 1265790"/>
                <a:gd name="connsiteY5" fmla="*/ 422677 h 581327"/>
                <a:gd name="connisteX6" fmla="*/ 572173 w 1265790"/>
                <a:gd name="connsiteY6" fmla="*/ 252497 h 581327"/>
                <a:gd name="connisteX7" fmla="*/ 1094143 w 1265790"/>
                <a:gd name="connsiteY7" fmla="*/ 135022 h 581327"/>
                <a:gd name="connisteX8" fmla="*/ 1133513 w 1265790"/>
                <a:gd name="connsiteY8" fmla="*/ 18182 h 581327"/>
                <a:gd name="connisteX9" fmla="*/ 1094143 w 1265790"/>
                <a:gd name="connsiteY9" fmla="*/ 30882 h 58132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265790" h="581327">
                  <a:moveTo>
                    <a:pt x="1094144" y="30882"/>
                  </a:moveTo>
                  <a:cubicBezTo>
                    <a:pt x="882689" y="75332"/>
                    <a:pt x="243244" y="140737"/>
                    <a:pt x="76239" y="239797"/>
                  </a:cubicBezTo>
                  <a:cubicBezTo>
                    <a:pt x="-90766" y="338857"/>
                    <a:pt x="37504" y="461412"/>
                    <a:pt x="259119" y="526817"/>
                  </a:cubicBezTo>
                  <a:cubicBezTo>
                    <a:pt x="480734" y="592222"/>
                    <a:pt x="1018579" y="589682"/>
                    <a:pt x="1185584" y="566187"/>
                  </a:cubicBezTo>
                  <a:cubicBezTo>
                    <a:pt x="1352589" y="542692"/>
                    <a:pt x="1227494" y="437917"/>
                    <a:pt x="1094144" y="409342"/>
                  </a:cubicBezTo>
                  <a:cubicBezTo>
                    <a:pt x="960794" y="380767"/>
                    <a:pt x="624244" y="453792"/>
                    <a:pt x="520104" y="422677"/>
                  </a:cubicBezTo>
                  <a:cubicBezTo>
                    <a:pt x="415964" y="391562"/>
                    <a:pt x="457239" y="310282"/>
                    <a:pt x="572174" y="252497"/>
                  </a:cubicBezTo>
                  <a:cubicBezTo>
                    <a:pt x="687109" y="194712"/>
                    <a:pt x="981749" y="182012"/>
                    <a:pt x="1094144" y="135022"/>
                  </a:cubicBezTo>
                  <a:cubicBezTo>
                    <a:pt x="1206539" y="88032"/>
                    <a:pt x="1133514" y="39137"/>
                    <a:pt x="1133514" y="18182"/>
                  </a:cubicBezTo>
                  <a:cubicBezTo>
                    <a:pt x="1133514" y="-2773"/>
                    <a:pt x="1305599" y="-13568"/>
                    <a:pt x="1094144" y="30882"/>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任意多边形 4"/>
            <p:cNvSpPr/>
            <p:nvPr>
              <p:custDataLst>
                <p:tags r:id="rId13"/>
              </p:custDataLst>
            </p:nvPr>
          </p:nvSpPr>
          <p:spPr>
            <a:xfrm>
              <a:off x="14161" y="6961"/>
              <a:ext cx="1773" cy="750"/>
            </a:xfrm>
            <a:custGeom>
              <a:avLst/>
              <a:gdLst>
                <a:gd name="connsiteX0" fmla="*/ 491 w 1773"/>
                <a:gd name="connsiteY0" fmla="*/ 695 h 750"/>
                <a:gd name="connsiteX1" fmla="*/ 1580 w 1773"/>
                <a:gd name="connsiteY1" fmla="*/ 736 h 750"/>
                <a:gd name="connsiteX2" fmla="*/ 1744 w 1773"/>
                <a:gd name="connsiteY2" fmla="*/ 469 h 750"/>
                <a:gd name="connsiteX3" fmla="*/ 1415 w 1773"/>
                <a:gd name="connsiteY3" fmla="*/ 222 h 750"/>
                <a:gd name="connsiteX4" fmla="*/ 717 w 1773"/>
                <a:gd name="connsiteY4" fmla="*/ 16 h 750"/>
                <a:gd name="connsiteX5" fmla="*/ 18 w 1773"/>
                <a:gd name="connsiteY5" fmla="*/ 58 h 750"/>
                <a:gd name="connsiteX6" fmla="*/ 470 w 1773"/>
                <a:gd name="connsiteY6" fmla="*/ 181 h 750"/>
                <a:gd name="connsiteX7" fmla="*/ 1004 w 1773"/>
                <a:gd name="connsiteY7" fmla="*/ 345 h 750"/>
                <a:gd name="connsiteX8" fmla="*/ 1477 w 1773"/>
                <a:gd name="connsiteY8" fmla="*/ 571 h 750"/>
                <a:gd name="connsiteX9" fmla="*/ 943 w 1773"/>
                <a:gd name="connsiteY9" fmla="*/ 530 h 750"/>
                <a:gd name="connsiteX10" fmla="*/ 552 w 1773"/>
                <a:gd name="connsiteY10" fmla="*/ 633 h 750"/>
                <a:gd name="connsiteX11" fmla="*/ 552 w 1773"/>
                <a:gd name="connsiteY11" fmla="*/ 674 h 750"/>
                <a:gd name="connsiteX12" fmla="*/ 491 w 1773"/>
                <a:gd name="connsiteY12" fmla="*/ 695 h 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3" h="750">
                  <a:moveTo>
                    <a:pt x="491" y="695"/>
                  </a:moveTo>
                  <a:cubicBezTo>
                    <a:pt x="697" y="707"/>
                    <a:pt x="1329" y="781"/>
                    <a:pt x="1580" y="736"/>
                  </a:cubicBezTo>
                  <a:cubicBezTo>
                    <a:pt x="1831" y="691"/>
                    <a:pt x="1777" y="572"/>
                    <a:pt x="1744" y="469"/>
                  </a:cubicBezTo>
                  <a:cubicBezTo>
                    <a:pt x="1711" y="366"/>
                    <a:pt x="1620" y="313"/>
                    <a:pt x="1415" y="222"/>
                  </a:cubicBezTo>
                  <a:cubicBezTo>
                    <a:pt x="1210" y="131"/>
                    <a:pt x="996" y="49"/>
                    <a:pt x="717" y="16"/>
                  </a:cubicBezTo>
                  <a:cubicBezTo>
                    <a:pt x="438" y="-17"/>
                    <a:pt x="121" y="4"/>
                    <a:pt x="18" y="58"/>
                  </a:cubicBezTo>
                  <a:cubicBezTo>
                    <a:pt x="-85" y="112"/>
                    <a:pt x="273" y="124"/>
                    <a:pt x="470" y="181"/>
                  </a:cubicBezTo>
                  <a:cubicBezTo>
                    <a:pt x="667" y="238"/>
                    <a:pt x="786" y="333"/>
                    <a:pt x="1004" y="345"/>
                  </a:cubicBezTo>
                  <a:cubicBezTo>
                    <a:pt x="1222" y="357"/>
                    <a:pt x="1489" y="534"/>
                    <a:pt x="1477" y="571"/>
                  </a:cubicBezTo>
                  <a:cubicBezTo>
                    <a:pt x="1465" y="608"/>
                    <a:pt x="1091" y="472"/>
                    <a:pt x="943" y="530"/>
                  </a:cubicBezTo>
                  <a:cubicBezTo>
                    <a:pt x="795" y="588"/>
                    <a:pt x="630" y="604"/>
                    <a:pt x="552" y="633"/>
                  </a:cubicBezTo>
                  <a:cubicBezTo>
                    <a:pt x="474" y="662"/>
                    <a:pt x="564" y="662"/>
                    <a:pt x="552" y="674"/>
                  </a:cubicBezTo>
                  <a:cubicBezTo>
                    <a:pt x="540" y="686"/>
                    <a:pt x="285" y="683"/>
                    <a:pt x="491" y="695"/>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14"/>
              </p:custDataLst>
            </p:nvPr>
          </p:nvSpPr>
          <p:spPr>
            <a:xfrm>
              <a:off x="11858" y="2455"/>
              <a:ext cx="4042" cy="1642"/>
            </a:xfrm>
            <a:custGeom>
              <a:avLst/>
              <a:gdLst>
                <a:gd name="connisteX0" fmla="*/ 1826531 w 2566881"/>
                <a:gd name="connsiteY0" fmla="*/ 40672 h 1042924"/>
                <a:gd name="connisteX1" fmla="*/ 234586 w 2566881"/>
                <a:gd name="connsiteY1" fmla="*/ 144812 h 1042924"/>
                <a:gd name="connisteX2" fmla="*/ 143146 w 2566881"/>
                <a:gd name="connsiteY2" fmla="*/ 744887 h 1042924"/>
                <a:gd name="connisteX3" fmla="*/ 1069611 w 2566881"/>
                <a:gd name="connsiteY3" fmla="*/ 1019207 h 1042924"/>
                <a:gd name="connisteX4" fmla="*/ 1761126 w 2566881"/>
                <a:gd name="connsiteY4" fmla="*/ 1019207 h 1042924"/>
                <a:gd name="connisteX5" fmla="*/ 2531381 w 2566881"/>
                <a:gd name="connsiteY5" fmla="*/ 1031907 h 1042924"/>
                <a:gd name="connisteX6" fmla="*/ 2322466 w 2566881"/>
                <a:gd name="connsiteY6" fmla="*/ 914432 h 1042924"/>
                <a:gd name="connisteX7" fmla="*/ 1813196 w 2566881"/>
                <a:gd name="connsiteY7" fmla="*/ 953802 h 1042924"/>
                <a:gd name="connisteX8" fmla="*/ 1082946 w 2566881"/>
                <a:gd name="connsiteY8" fmla="*/ 914432 h 1042924"/>
                <a:gd name="connisteX9" fmla="*/ 534941 w 2566881"/>
                <a:gd name="connsiteY9" fmla="*/ 653447 h 1042924"/>
                <a:gd name="connisteX10" fmla="*/ 587011 w 2566881"/>
                <a:gd name="connsiteY10" fmla="*/ 405797 h 1042924"/>
                <a:gd name="connisteX11" fmla="*/ 1147716 w 2566881"/>
                <a:gd name="connsiteY11" fmla="*/ 274987 h 1042924"/>
                <a:gd name="connisteX12" fmla="*/ 1748426 w 2566881"/>
                <a:gd name="connsiteY12" fmla="*/ 327692 h 1042924"/>
                <a:gd name="connisteX13" fmla="*/ 2126886 w 2566881"/>
                <a:gd name="connsiteY13" fmla="*/ 340392 h 1042924"/>
                <a:gd name="connisteX14" fmla="*/ 2296431 w 2566881"/>
                <a:gd name="connsiteY14" fmla="*/ 210217 h 1042924"/>
                <a:gd name="connisteX15" fmla="*/ 1891936 w 2566881"/>
                <a:gd name="connsiteY15" fmla="*/ 14002 h 1042924"/>
                <a:gd name="connisteX16" fmla="*/ 1826531 w 2566881"/>
                <a:gd name="connsiteY16" fmla="*/ 40672 h 104292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Lst>
              <a:rect l="l" t="t" r="r" b="b"/>
              <a:pathLst>
                <a:path w="2566881" h="1042924">
                  <a:moveTo>
                    <a:pt x="1826531" y="40673"/>
                  </a:moveTo>
                  <a:cubicBezTo>
                    <a:pt x="1495061" y="66708"/>
                    <a:pt x="571136" y="3843"/>
                    <a:pt x="234586" y="144813"/>
                  </a:cubicBezTo>
                  <a:cubicBezTo>
                    <a:pt x="-101964" y="285783"/>
                    <a:pt x="-23859" y="570263"/>
                    <a:pt x="143146" y="744888"/>
                  </a:cubicBezTo>
                  <a:cubicBezTo>
                    <a:pt x="310151" y="919513"/>
                    <a:pt x="745761" y="964598"/>
                    <a:pt x="1069611" y="1019208"/>
                  </a:cubicBezTo>
                  <a:cubicBezTo>
                    <a:pt x="1393461" y="1073818"/>
                    <a:pt x="1469026" y="1016668"/>
                    <a:pt x="1761126" y="1019208"/>
                  </a:cubicBezTo>
                  <a:cubicBezTo>
                    <a:pt x="2053226" y="1021748"/>
                    <a:pt x="2418986" y="1052863"/>
                    <a:pt x="2531381" y="1031908"/>
                  </a:cubicBezTo>
                  <a:cubicBezTo>
                    <a:pt x="2643776" y="1010953"/>
                    <a:pt x="2465976" y="930308"/>
                    <a:pt x="2322466" y="914433"/>
                  </a:cubicBezTo>
                  <a:cubicBezTo>
                    <a:pt x="2178956" y="898558"/>
                    <a:pt x="2060846" y="953803"/>
                    <a:pt x="1813196" y="953803"/>
                  </a:cubicBezTo>
                  <a:cubicBezTo>
                    <a:pt x="1565546" y="953803"/>
                    <a:pt x="1338851" y="974758"/>
                    <a:pt x="1082946" y="914433"/>
                  </a:cubicBezTo>
                  <a:cubicBezTo>
                    <a:pt x="827041" y="854108"/>
                    <a:pt x="634001" y="755048"/>
                    <a:pt x="534941" y="653448"/>
                  </a:cubicBezTo>
                  <a:cubicBezTo>
                    <a:pt x="435881" y="551848"/>
                    <a:pt x="464456" y="481363"/>
                    <a:pt x="587011" y="405798"/>
                  </a:cubicBezTo>
                  <a:cubicBezTo>
                    <a:pt x="709566" y="330233"/>
                    <a:pt x="915306" y="290863"/>
                    <a:pt x="1147716" y="274988"/>
                  </a:cubicBezTo>
                  <a:cubicBezTo>
                    <a:pt x="1380126" y="259113"/>
                    <a:pt x="1552846" y="314358"/>
                    <a:pt x="1748426" y="327693"/>
                  </a:cubicBezTo>
                  <a:cubicBezTo>
                    <a:pt x="1944006" y="341028"/>
                    <a:pt x="2017031" y="363888"/>
                    <a:pt x="2126886" y="340393"/>
                  </a:cubicBezTo>
                  <a:cubicBezTo>
                    <a:pt x="2236741" y="316898"/>
                    <a:pt x="2343421" y="275623"/>
                    <a:pt x="2296431" y="210218"/>
                  </a:cubicBezTo>
                  <a:cubicBezTo>
                    <a:pt x="2249441" y="144813"/>
                    <a:pt x="1985916" y="47658"/>
                    <a:pt x="1891936" y="14003"/>
                  </a:cubicBezTo>
                  <a:cubicBezTo>
                    <a:pt x="1797956" y="-19652"/>
                    <a:pt x="2158001" y="14638"/>
                    <a:pt x="1826531" y="40673"/>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任意多边形 6"/>
            <p:cNvSpPr/>
            <p:nvPr>
              <p:custDataLst>
                <p:tags r:id="rId15"/>
              </p:custDataLst>
            </p:nvPr>
          </p:nvSpPr>
          <p:spPr>
            <a:xfrm>
              <a:off x="13085" y="4352"/>
              <a:ext cx="2251" cy="895"/>
            </a:xfrm>
            <a:custGeom>
              <a:avLst/>
              <a:gdLst>
                <a:gd name="connisteX0" fmla="*/ 1007645 w 1429394"/>
                <a:gd name="connsiteY0" fmla="*/ 10124 h 568197"/>
                <a:gd name="connisteX1" fmla="*/ 120550 w 1429394"/>
                <a:gd name="connsiteY1" fmla="*/ 49494 h 568197"/>
                <a:gd name="connisteX2" fmla="*/ 107215 w 1429394"/>
                <a:gd name="connsiteY2" fmla="*/ 283809 h 568197"/>
                <a:gd name="connisteX3" fmla="*/ 733960 w 1429394"/>
                <a:gd name="connsiteY3" fmla="*/ 544794 h 568197"/>
                <a:gd name="connisteX4" fmla="*/ 1334035 w 1429394"/>
                <a:gd name="connsiteY4" fmla="*/ 532094 h 568197"/>
                <a:gd name="connisteX5" fmla="*/ 1360070 w 1429394"/>
                <a:gd name="connsiteY5" fmla="*/ 440654 h 568197"/>
                <a:gd name="connisteX6" fmla="*/ 864135 w 1429394"/>
                <a:gd name="connsiteY6" fmla="*/ 440654 h 568197"/>
                <a:gd name="connisteX7" fmla="*/ 420905 w 1429394"/>
                <a:gd name="connsiteY7" fmla="*/ 323179 h 568197"/>
                <a:gd name="connisteX8" fmla="*/ 277395 w 1429394"/>
                <a:gd name="connsiteY8" fmla="*/ 271109 h 568197"/>
                <a:gd name="connisteX9" fmla="*/ 342165 w 1429394"/>
                <a:gd name="connsiteY9" fmla="*/ 166334 h 568197"/>
                <a:gd name="connisteX10" fmla="*/ 616485 w 1429394"/>
                <a:gd name="connsiteY10" fmla="*/ 127599 h 568197"/>
                <a:gd name="connisteX11" fmla="*/ 1007645 w 1429394"/>
                <a:gd name="connsiteY11" fmla="*/ 140299 h 568197"/>
                <a:gd name="connisteX12" fmla="*/ 1007645 w 1429394"/>
                <a:gd name="connsiteY12" fmla="*/ 10124 h 56819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1429394" h="568197">
                  <a:moveTo>
                    <a:pt x="1007645" y="10125"/>
                  </a:moveTo>
                  <a:cubicBezTo>
                    <a:pt x="830480" y="-8290"/>
                    <a:pt x="300890" y="-5115"/>
                    <a:pt x="120550" y="49495"/>
                  </a:cubicBezTo>
                  <a:cubicBezTo>
                    <a:pt x="-59790" y="104105"/>
                    <a:pt x="-15340" y="184750"/>
                    <a:pt x="107215" y="283810"/>
                  </a:cubicBezTo>
                  <a:cubicBezTo>
                    <a:pt x="229770" y="382870"/>
                    <a:pt x="488850" y="495265"/>
                    <a:pt x="733960" y="544795"/>
                  </a:cubicBezTo>
                  <a:cubicBezTo>
                    <a:pt x="979070" y="594325"/>
                    <a:pt x="1208940" y="553050"/>
                    <a:pt x="1334035" y="532095"/>
                  </a:cubicBezTo>
                  <a:cubicBezTo>
                    <a:pt x="1459130" y="511140"/>
                    <a:pt x="1454050" y="459070"/>
                    <a:pt x="1360070" y="440655"/>
                  </a:cubicBezTo>
                  <a:cubicBezTo>
                    <a:pt x="1266090" y="422240"/>
                    <a:pt x="1052095" y="464150"/>
                    <a:pt x="864135" y="440655"/>
                  </a:cubicBezTo>
                  <a:cubicBezTo>
                    <a:pt x="676175" y="417160"/>
                    <a:pt x="538380" y="356835"/>
                    <a:pt x="420905" y="323180"/>
                  </a:cubicBezTo>
                  <a:cubicBezTo>
                    <a:pt x="303430" y="289525"/>
                    <a:pt x="293270" y="302225"/>
                    <a:pt x="277395" y="271110"/>
                  </a:cubicBezTo>
                  <a:cubicBezTo>
                    <a:pt x="261520" y="239995"/>
                    <a:pt x="274220" y="194910"/>
                    <a:pt x="342165" y="166335"/>
                  </a:cubicBezTo>
                  <a:cubicBezTo>
                    <a:pt x="410110" y="137760"/>
                    <a:pt x="483135" y="132680"/>
                    <a:pt x="616485" y="127600"/>
                  </a:cubicBezTo>
                  <a:cubicBezTo>
                    <a:pt x="749835" y="122520"/>
                    <a:pt x="929540" y="163795"/>
                    <a:pt x="1007645" y="140300"/>
                  </a:cubicBezTo>
                  <a:cubicBezTo>
                    <a:pt x="1085750" y="116805"/>
                    <a:pt x="1184810" y="28540"/>
                    <a:pt x="1007645" y="10125"/>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6"/>
              </p:custDataLst>
            </p:nvPr>
          </p:nvSpPr>
          <p:spPr>
            <a:xfrm>
              <a:off x="13498" y="5476"/>
              <a:ext cx="1609" cy="475"/>
            </a:xfrm>
            <a:custGeom>
              <a:avLst/>
              <a:gdLst>
                <a:gd name="connisteX0" fmla="*/ 745650 w 1021678"/>
                <a:gd name="connsiteY0" fmla="*/ 14173 h 301579"/>
                <a:gd name="connisteX1" fmla="*/ 210980 w 1021678"/>
                <a:gd name="connsiteY1" fmla="*/ 14173 h 301579"/>
                <a:gd name="connisteX2" fmla="*/ 2065 w 1021678"/>
                <a:gd name="connsiteY2" fmla="*/ 144983 h 301579"/>
                <a:gd name="connisteX3" fmla="*/ 289085 w 1021678"/>
                <a:gd name="connsiteY3" fmla="*/ 261823 h 301579"/>
                <a:gd name="connisteX4" fmla="*/ 758985 w 1021678"/>
                <a:gd name="connsiteY4" fmla="*/ 301193 h 301579"/>
                <a:gd name="connisteX5" fmla="*/ 1019970 w 1021678"/>
                <a:gd name="connsiteY5" fmla="*/ 275158 h 301579"/>
                <a:gd name="connisteX6" fmla="*/ 667545 w 1021678"/>
                <a:gd name="connsiteY6" fmla="*/ 209753 h 301579"/>
                <a:gd name="connisteX7" fmla="*/ 328455 w 1021678"/>
                <a:gd name="connsiteY7" fmla="*/ 209753 h 301579"/>
                <a:gd name="connisteX8" fmla="*/ 184945 w 1021678"/>
                <a:gd name="connsiteY8" fmla="*/ 144983 h 301579"/>
                <a:gd name="connisteX9" fmla="*/ 458630 w 1021678"/>
                <a:gd name="connsiteY9" fmla="*/ 79578 h 301579"/>
                <a:gd name="connisteX10" fmla="*/ 732950 w 1021678"/>
                <a:gd name="connsiteY10" fmla="*/ 66243 h 301579"/>
                <a:gd name="connisteX11" fmla="*/ 745650 w 1021678"/>
                <a:gd name="connsiteY11" fmla="*/ 14173 h 30157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021679" h="301579">
                  <a:moveTo>
                    <a:pt x="745651" y="14174"/>
                  </a:moveTo>
                  <a:cubicBezTo>
                    <a:pt x="641511" y="4014"/>
                    <a:pt x="359571" y="-11861"/>
                    <a:pt x="210981" y="14174"/>
                  </a:cubicBezTo>
                  <a:cubicBezTo>
                    <a:pt x="62391" y="40209"/>
                    <a:pt x="-13809" y="95454"/>
                    <a:pt x="2066" y="144984"/>
                  </a:cubicBezTo>
                  <a:cubicBezTo>
                    <a:pt x="17941" y="194514"/>
                    <a:pt x="137956" y="230709"/>
                    <a:pt x="289086" y="261824"/>
                  </a:cubicBezTo>
                  <a:cubicBezTo>
                    <a:pt x="440216" y="292939"/>
                    <a:pt x="612936" y="298654"/>
                    <a:pt x="758986" y="301194"/>
                  </a:cubicBezTo>
                  <a:cubicBezTo>
                    <a:pt x="905036" y="303734"/>
                    <a:pt x="1038386" y="293574"/>
                    <a:pt x="1019971" y="275159"/>
                  </a:cubicBezTo>
                  <a:cubicBezTo>
                    <a:pt x="1001556" y="256744"/>
                    <a:pt x="805976" y="223089"/>
                    <a:pt x="667546" y="209754"/>
                  </a:cubicBezTo>
                  <a:cubicBezTo>
                    <a:pt x="529116" y="196419"/>
                    <a:pt x="424976" y="222454"/>
                    <a:pt x="328456" y="209754"/>
                  </a:cubicBezTo>
                  <a:cubicBezTo>
                    <a:pt x="231936" y="197054"/>
                    <a:pt x="158911" y="171019"/>
                    <a:pt x="184946" y="144984"/>
                  </a:cubicBezTo>
                  <a:cubicBezTo>
                    <a:pt x="210981" y="118949"/>
                    <a:pt x="348776" y="95454"/>
                    <a:pt x="458631" y="79579"/>
                  </a:cubicBezTo>
                  <a:cubicBezTo>
                    <a:pt x="568486" y="63704"/>
                    <a:pt x="675801" y="79579"/>
                    <a:pt x="732951" y="66244"/>
                  </a:cubicBezTo>
                  <a:cubicBezTo>
                    <a:pt x="790101" y="52909"/>
                    <a:pt x="849791" y="24334"/>
                    <a:pt x="745651" y="14174"/>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7"/>
              </p:custDataLst>
            </p:nvPr>
          </p:nvSpPr>
          <p:spPr>
            <a:xfrm>
              <a:off x="14051" y="6147"/>
              <a:ext cx="1299" cy="567"/>
            </a:xfrm>
            <a:custGeom>
              <a:avLst/>
              <a:gdLst>
                <a:gd name="connisteX0" fmla="*/ 603466 w 824754"/>
                <a:gd name="connsiteY0" fmla="*/ 32038 h 360269"/>
                <a:gd name="connisteX1" fmla="*/ 68796 w 824754"/>
                <a:gd name="connsiteY1" fmla="*/ 18703 h 360269"/>
                <a:gd name="connisteX2" fmla="*/ 55461 w 824754"/>
                <a:gd name="connsiteY2" fmla="*/ 240318 h 360269"/>
                <a:gd name="connisteX3" fmla="*/ 342481 w 824754"/>
                <a:gd name="connsiteY3" fmla="*/ 345093 h 360269"/>
                <a:gd name="connisteX4" fmla="*/ 734276 w 824754"/>
                <a:gd name="connsiteY4" fmla="*/ 357793 h 360269"/>
                <a:gd name="connisteX5" fmla="*/ 812381 w 824754"/>
                <a:gd name="connsiteY5" fmla="*/ 345093 h 360269"/>
                <a:gd name="connisteX6" fmla="*/ 603466 w 824754"/>
                <a:gd name="connsiteY6" fmla="*/ 345093 h 360269"/>
                <a:gd name="connisteX7" fmla="*/ 290411 w 824754"/>
                <a:gd name="connsiteY7" fmla="*/ 240318 h 360269"/>
                <a:gd name="connisteX8" fmla="*/ 133566 w 824754"/>
                <a:gd name="connsiteY8" fmla="*/ 162213 h 360269"/>
                <a:gd name="connisteX9" fmla="*/ 290411 w 824754"/>
                <a:gd name="connsiteY9" fmla="*/ 110143 h 360269"/>
                <a:gd name="connisteX10" fmla="*/ 473291 w 824754"/>
                <a:gd name="connsiteY10" fmla="*/ 110143 h 360269"/>
                <a:gd name="connisteX11" fmla="*/ 577431 w 824754"/>
                <a:gd name="connsiteY11" fmla="*/ 96808 h 360269"/>
                <a:gd name="connisteX12" fmla="*/ 603466 w 824754"/>
                <a:gd name="connsiteY12" fmla="*/ 32038 h 36026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824755" h="360269">
                  <a:moveTo>
                    <a:pt x="603467" y="32039"/>
                  </a:moveTo>
                  <a:cubicBezTo>
                    <a:pt x="501867" y="16164"/>
                    <a:pt x="178652" y="-23206"/>
                    <a:pt x="68797" y="18704"/>
                  </a:cubicBezTo>
                  <a:cubicBezTo>
                    <a:pt x="-41058" y="60614"/>
                    <a:pt x="852" y="174914"/>
                    <a:pt x="55462" y="240319"/>
                  </a:cubicBezTo>
                  <a:cubicBezTo>
                    <a:pt x="110072" y="305724"/>
                    <a:pt x="206592" y="321599"/>
                    <a:pt x="342482" y="345094"/>
                  </a:cubicBezTo>
                  <a:cubicBezTo>
                    <a:pt x="478372" y="368589"/>
                    <a:pt x="640297" y="357794"/>
                    <a:pt x="734277" y="357794"/>
                  </a:cubicBezTo>
                  <a:cubicBezTo>
                    <a:pt x="828257" y="357794"/>
                    <a:pt x="838417" y="347634"/>
                    <a:pt x="812382" y="345094"/>
                  </a:cubicBezTo>
                  <a:cubicBezTo>
                    <a:pt x="786347" y="342554"/>
                    <a:pt x="707607" y="366049"/>
                    <a:pt x="603467" y="345094"/>
                  </a:cubicBezTo>
                  <a:cubicBezTo>
                    <a:pt x="499327" y="324139"/>
                    <a:pt x="384392" y="277149"/>
                    <a:pt x="290412" y="240319"/>
                  </a:cubicBezTo>
                  <a:cubicBezTo>
                    <a:pt x="196432" y="203489"/>
                    <a:pt x="133567" y="188249"/>
                    <a:pt x="133567" y="162214"/>
                  </a:cubicBezTo>
                  <a:cubicBezTo>
                    <a:pt x="133567" y="136179"/>
                    <a:pt x="222467" y="120304"/>
                    <a:pt x="290412" y="110144"/>
                  </a:cubicBezTo>
                  <a:cubicBezTo>
                    <a:pt x="358357" y="99984"/>
                    <a:pt x="416142" y="112684"/>
                    <a:pt x="473292" y="110144"/>
                  </a:cubicBezTo>
                  <a:cubicBezTo>
                    <a:pt x="530442" y="107604"/>
                    <a:pt x="551397" y="112684"/>
                    <a:pt x="577432" y="96809"/>
                  </a:cubicBezTo>
                  <a:cubicBezTo>
                    <a:pt x="603467" y="80934"/>
                    <a:pt x="705067" y="47914"/>
                    <a:pt x="603467" y="32039"/>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任意多边形 14"/>
            <p:cNvSpPr/>
            <p:nvPr>
              <p:custDataLst>
                <p:tags r:id="rId18"/>
              </p:custDataLst>
            </p:nvPr>
          </p:nvSpPr>
          <p:spPr>
            <a:xfrm>
              <a:off x="14934" y="5991"/>
              <a:ext cx="889" cy="722"/>
            </a:xfrm>
            <a:custGeom>
              <a:avLst/>
              <a:gdLst>
                <a:gd name="connisteX0" fmla="*/ 55822 w 564676"/>
                <a:gd name="connsiteY0" fmla="*/ 418019 h 458777"/>
                <a:gd name="connisteX1" fmla="*/ 446982 w 564676"/>
                <a:gd name="connsiteY1" fmla="*/ 365949 h 458777"/>
                <a:gd name="connisteX2" fmla="*/ 564457 w 564676"/>
                <a:gd name="connsiteY2" fmla="*/ 183069 h 458777"/>
                <a:gd name="connisteX3" fmla="*/ 433647 w 564676"/>
                <a:gd name="connsiteY3" fmla="*/ 52259 h 458777"/>
                <a:gd name="connisteX4" fmla="*/ 264102 w 564676"/>
                <a:gd name="connsiteY4" fmla="*/ 189 h 458777"/>
                <a:gd name="connisteX5" fmla="*/ 81857 w 564676"/>
                <a:gd name="connsiteY5" fmla="*/ 39559 h 458777"/>
                <a:gd name="connisteX6" fmla="*/ 316807 w 564676"/>
                <a:gd name="connsiteY6" fmla="*/ 91629 h 458777"/>
                <a:gd name="connisteX7" fmla="*/ 446982 w 564676"/>
                <a:gd name="connsiteY7" fmla="*/ 169734 h 458777"/>
                <a:gd name="connisteX8" fmla="*/ 394912 w 564676"/>
                <a:gd name="connsiteY8" fmla="*/ 313244 h 458777"/>
                <a:gd name="connisteX9" fmla="*/ 290137 w 564676"/>
                <a:gd name="connsiteY9" fmla="*/ 352614 h 458777"/>
                <a:gd name="connisteX10" fmla="*/ 29787 w 564676"/>
                <a:gd name="connsiteY10" fmla="*/ 365949 h 458777"/>
                <a:gd name="connisteX11" fmla="*/ 16452 w 564676"/>
                <a:gd name="connsiteY11" fmla="*/ 456754 h 458777"/>
                <a:gd name="connisteX12" fmla="*/ 55822 w 564676"/>
                <a:gd name="connsiteY12" fmla="*/ 418019 h 45877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564677" h="458778">
                  <a:moveTo>
                    <a:pt x="55823" y="418020"/>
                  </a:moveTo>
                  <a:cubicBezTo>
                    <a:pt x="142183" y="399605"/>
                    <a:pt x="345383" y="412940"/>
                    <a:pt x="446983" y="365950"/>
                  </a:cubicBezTo>
                  <a:cubicBezTo>
                    <a:pt x="548583" y="318960"/>
                    <a:pt x="566998" y="245935"/>
                    <a:pt x="564458" y="183070"/>
                  </a:cubicBezTo>
                  <a:cubicBezTo>
                    <a:pt x="561918" y="120205"/>
                    <a:pt x="493973" y="89090"/>
                    <a:pt x="433648" y="52260"/>
                  </a:cubicBezTo>
                  <a:cubicBezTo>
                    <a:pt x="373323" y="15430"/>
                    <a:pt x="334588" y="2730"/>
                    <a:pt x="264103" y="190"/>
                  </a:cubicBezTo>
                  <a:cubicBezTo>
                    <a:pt x="193618" y="-2350"/>
                    <a:pt x="71063" y="21145"/>
                    <a:pt x="81858" y="39560"/>
                  </a:cubicBezTo>
                  <a:cubicBezTo>
                    <a:pt x="92653" y="57975"/>
                    <a:pt x="243783" y="65595"/>
                    <a:pt x="316808" y="91630"/>
                  </a:cubicBezTo>
                  <a:cubicBezTo>
                    <a:pt x="389833" y="117665"/>
                    <a:pt x="431108" y="125285"/>
                    <a:pt x="446983" y="169735"/>
                  </a:cubicBezTo>
                  <a:cubicBezTo>
                    <a:pt x="462858" y="214185"/>
                    <a:pt x="426028" y="276415"/>
                    <a:pt x="394913" y="313245"/>
                  </a:cubicBezTo>
                  <a:cubicBezTo>
                    <a:pt x="363798" y="350075"/>
                    <a:pt x="363163" y="341820"/>
                    <a:pt x="290138" y="352615"/>
                  </a:cubicBezTo>
                  <a:cubicBezTo>
                    <a:pt x="217113" y="363410"/>
                    <a:pt x="84398" y="344995"/>
                    <a:pt x="29788" y="365950"/>
                  </a:cubicBezTo>
                  <a:cubicBezTo>
                    <a:pt x="-24822" y="386905"/>
                    <a:pt x="11373" y="446595"/>
                    <a:pt x="16453" y="456755"/>
                  </a:cubicBezTo>
                  <a:cubicBezTo>
                    <a:pt x="21533" y="466915"/>
                    <a:pt x="-30537" y="436435"/>
                    <a:pt x="55823" y="418020"/>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6" name="任意多边形 15"/>
            <p:cNvSpPr/>
            <p:nvPr>
              <p:custDataLst>
                <p:tags r:id="rId19"/>
              </p:custDataLst>
            </p:nvPr>
          </p:nvSpPr>
          <p:spPr>
            <a:xfrm>
              <a:off x="14534" y="5349"/>
              <a:ext cx="1376" cy="470"/>
            </a:xfrm>
            <a:custGeom>
              <a:avLst/>
              <a:gdLst>
                <a:gd name="connisteX0" fmla="*/ 61395 w 874045"/>
                <a:gd name="connsiteY0" fmla="*/ 225146 h 298506"/>
                <a:gd name="connisteX1" fmla="*/ 648770 w 874045"/>
                <a:gd name="connsiteY1" fmla="*/ 289916 h 298506"/>
                <a:gd name="connisteX2" fmla="*/ 870385 w 874045"/>
                <a:gd name="connsiteY2" fmla="*/ 263881 h 298506"/>
                <a:gd name="connisteX3" fmla="*/ 752910 w 874045"/>
                <a:gd name="connsiteY3" fmla="*/ 42266 h 298506"/>
                <a:gd name="connisteX4" fmla="*/ 543995 w 874045"/>
                <a:gd name="connsiteY4" fmla="*/ 2896 h 298506"/>
                <a:gd name="connisteX5" fmla="*/ 270310 w 874045"/>
                <a:gd name="connsiteY5" fmla="*/ 16231 h 298506"/>
                <a:gd name="connisteX6" fmla="*/ 505260 w 874045"/>
                <a:gd name="connsiteY6" fmla="*/ 94336 h 298506"/>
                <a:gd name="connisteX7" fmla="*/ 700840 w 874045"/>
                <a:gd name="connsiteY7" fmla="*/ 120371 h 298506"/>
                <a:gd name="connisteX8" fmla="*/ 726875 w 874045"/>
                <a:gd name="connsiteY8" fmla="*/ 198476 h 298506"/>
                <a:gd name="connisteX9" fmla="*/ 491925 w 874045"/>
                <a:gd name="connsiteY9" fmla="*/ 198476 h 298506"/>
                <a:gd name="connisteX10" fmla="*/ 244275 w 874045"/>
                <a:gd name="connsiteY10" fmla="*/ 159741 h 298506"/>
                <a:gd name="connisteX11" fmla="*/ 61395 w 874045"/>
                <a:gd name="connsiteY11" fmla="*/ 159741 h 298506"/>
                <a:gd name="connisteX12" fmla="*/ 61395 w 874045"/>
                <a:gd name="connsiteY12" fmla="*/ 225146 h 298506"/>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874045" h="298506">
                  <a:moveTo>
                    <a:pt x="61395" y="225146"/>
                  </a:moveTo>
                  <a:cubicBezTo>
                    <a:pt x="178870" y="251181"/>
                    <a:pt x="486845" y="282296"/>
                    <a:pt x="648770" y="289916"/>
                  </a:cubicBezTo>
                  <a:cubicBezTo>
                    <a:pt x="810695" y="297536"/>
                    <a:pt x="849430" y="313411"/>
                    <a:pt x="870385" y="263881"/>
                  </a:cubicBezTo>
                  <a:cubicBezTo>
                    <a:pt x="891340" y="214351"/>
                    <a:pt x="818315" y="94336"/>
                    <a:pt x="752910" y="42266"/>
                  </a:cubicBezTo>
                  <a:cubicBezTo>
                    <a:pt x="687505" y="-9804"/>
                    <a:pt x="640515" y="7976"/>
                    <a:pt x="543995" y="2896"/>
                  </a:cubicBezTo>
                  <a:cubicBezTo>
                    <a:pt x="447475" y="-2184"/>
                    <a:pt x="277930" y="-2184"/>
                    <a:pt x="270310" y="16231"/>
                  </a:cubicBezTo>
                  <a:cubicBezTo>
                    <a:pt x="262690" y="34646"/>
                    <a:pt x="418900" y="73381"/>
                    <a:pt x="505260" y="94336"/>
                  </a:cubicBezTo>
                  <a:cubicBezTo>
                    <a:pt x="591620" y="115291"/>
                    <a:pt x="656390" y="99416"/>
                    <a:pt x="700840" y="120371"/>
                  </a:cubicBezTo>
                  <a:cubicBezTo>
                    <a:pt x="745290" y="141326"/>
                    <a:pt x="768785" y="182601"/>
                    <a:pt x="726875" y="198476"/>
                  </a:cubicBezTo>
                  <a:cubicBezTo>
                    <a:pt x="684965" y="214351"/>
                    <a:pt x="588445" y="206096"/>
                    <a:pt x="491925" y="198476"/>
                  </a:cubicBezTo>
                  <a:cubicBezTo>
                    <a:pt x="395405" y="190856"/>
                    <a:pt x="330635" y="167361"/>
                    <a:pt x="244275" y="159741"/>
                  </a:cubicBezTo>
                  <a:cubicBezTo>
                    <a:pt x="157915" y="152121"/>
                    <a:pt x="98225" y="146406"/>
                    <a:pt x="61395" y="159741"/>
                  </a:cubicBezTo>
                  <a:cubicBezTo>
                    <a:pt x="24565" y="173076"/>
                    <a:pt x="-56080" y="199111"/>
                    <a:pt x="61395" y="225146"/>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20"/>
              </p:custDataLst>
            </p:nvPr>
          </p:nvSpPr>
          <p:spPr>
            <a:xfrm>
              <a:off x="13845" y="4188"/>
              <a:ext cx="1918" cy="756"/>
            </a:xfrm>
            <a:custGeom>
              <a:avLst/>
              <a:gdLst>
                <a:gd name="connisteX0" fmla="*/ 381614 w 1217821"/>
                <a:gd name="connsiteY0" fmla="*/ 440433 h 479761"/>
                <a:gd name="connisteX1" fmla="*/ 799444 w 1217821"/>
                <a:gd name="connsiteY1" fmla="*/ 479168 h 479761"/>
                <a:gd name="connisteX2" fmla="*/ 1112499 w 1217821"/>
                <a:gd name="connsiteY2" fmla="*/ 453133 h 479761"/>
                <a:gd name="connisteX3" fmla="*/ 1216639 w 1217821"/>
                <a:gd name="connsiteY3" fmla="*/ 361693 h 479761"/>
                <a:gd name="connisteX4" fmla="*/ 1073129 w 1217821"/>
                <a:gd name="connsiteY4" fmla="*/ 126743 h 479761"/>
                <a:gd name="connisteX5" fmla="*/ 825479 w 1217821"/>
                <a:gd name="connsiteY5" fmla="*/ 22603 h 479761"/>
                <a:gd name="connisteX6" fmla="*/ 512424 w 1217821"/>
                <a:gd name="connsiteY6" fmla="*/ 9903 h 479761"/>
                <a:gd name="connisteX7" fmla="*/ 3154 w 1217821"/>
                <a:gd name="connsiteY7" fmla="*/ 9903 h 479761"/>
                <a:gd name="connisteX8" fmla="*/ 721339 w 1217821"/>
                <a:gd name="connsiteY8" fmla="*/ 114043 h 479761"/>
                <a:gd name="connisteX9" fmla="*/ 942954 w 1217821"/>
                <a:gd name="connsiteY9" fmla="*/ 179448 h 479761"/>
                <a:gd name="connisteX10" fmla="*/ 942954 w 1217821"/>
                <a:gd name="connsiteY10" fmla="*/ 309623 h 479761"/>
                <a:gd name="connisteX11" fmla="*/ 525124 w 1217821"/>
                <a:gd name="connsiteY11" fmla="*/ 335658 h 479761"/>
                <a:gd name="connisteX12" fmla="*/ 212069 w 1217821"/>
                <a:gd name="connsiteY12" fmla="*/ 296923 h 479761"/>
                <a:gd name="connisteX13" fmla="*/ 186034 w 1217821"/>
                <a:gd name="connsiteY13" fmla="*/ 257553 h 479761"/>
                <a:gd name="connisteX14" fmla="*/ 107929 w 1217821"/>
                <a:gd name="connsiteY14" fmla="*/ 296923 h 479761"/>
                <a:gd name="connisteX15" fmla="*/ 381614 w 1217821"/>
                <a:gd name="connsiteY15" fmla="*/ 440433 h 47976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1217822" h="479761">
                  <a:moveTo>
                    <a:pt x="381614" y="440434"/>
                  </a:moveTo>
                  <a:cubicBezTo>
                    <a:pt x="520044" y="476629"/>
                    <a:pt x="653394" y="476629"/>
                    <a:pt x="799444" y="479169"/>
                  </a:cubicBezTo>
                  <a:cubicBezTo>
                    <a:pt x="945494" y="481709"/>
                    <a:pt x="1029314" y="476629"/>
                    <a:pt x="1112499" y="453134"/>
                  </a:cubicBezTo>
                  <a:cubicBezTo>
                    <a:pt x="1195684" y="429639"/>
                    <a:pt x="1224259" y="427099"/>
                    <a:pt x="1216639" y="361694"/>
                  </a:cubicBezTo>
                  <a:cubicBezTo>
                    <a:pt x="1209019" y="296289"/>
                    <a:pt x="1151234" y="194689"/>
                    <a:pt x="1073129" y="126744"/>
                  </a:cubicBezTo>
                  <a:cubicBezTo>
                    <a:pt x="995024" y="58799"/>
                    <a:pt x="937874" y="46099"/>
                    <a:pt x="825479" y="22604"/>
                  </a:cubicBezTo>
                  <a:cubicBezTo>
                    <a:pt x="713084" y="-891"/>
                    <a:pt x="676889" y="12444"/>
                    <a:pt x="512424" y="9904"/>
                  </a:cubicBezTo>
                  <a:cubicBezTo>
                    <a:pt x="347959" y="7364"/>
                    <a:pt x="-38756" y="-11051"/>
                    <a:pt x="3154" y="9904"/>
                  </a:cubicBezTo>
                  <a:cubicBezTo>
                    <a:pt x="45064" y="30859"/>
                    <a:pt x="533379" y="80389"/>
                    <a:pt x="721339" y="114044"/>
                  </a:cubicBezTo>
                  <a:cubicBezTo>
                    <a:pt x="909299" y="147699"/>
                    <a:pt x="898504" y="140079"/>
                    <a:pt x="942954" y="179449"/>
                  </a:cubicBezTo>
                  <a:cubicBezTo>
                    <a:pt x="987404" y="218819"/>
                    <a:pt x="1026774" y="278509"/>
                    <a:pt x="942954" y="309624"/>
                  </a:cubicBezTo>
                  <a:cubicBezTo>
                    <a:pt x="859134" y="340739"/>
                    <a:pt x="671174" y="338199"/>
                    <a:pt x="525124" y="335659"/>
                  </a:cubicBezTo>
                  <a:cubicBezTo>
                    <a:pt x="379074" y="333119"/>
                    <a:pt x="280014" y="312799"/>
                    <a:pt x="212069" y="296924"/>
                  </a:cubicBezTo>
                  <a:cubicBezTo>
                    <a:pt x="144124" y="281049"/>
                    <a:pt x="206989" y="257554"/>
                    <a:pt x="186034" y="257554"/>
                  </a:cubicBezTo>
                  <a:cubicBezTo>
                    <a:pt x="165079" y="257554"/>
                    <a:pt x="68559" y="260094"/>
                    <a:pt x="107929" y="296924"/>
                  </a:cubicBezTo>
                  <a:cubicBezTo>
                    <a:pt x="147299" y="333754"/>
                    <a:pt x="243184" y="404239"/>
                    <a:pt x="381614" y="440434"/>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任意多边形 22"/>
            <p:cNvSpPr/>
            <p:nvPr>
              <p:custDataLst>
                <p:tags r:id="rId21"/>
              </p:custDataLst>
            </p:nvPr>
          </p:nvSpPr>
          <p:spPr>
            <a:xfrm>
              <a:off x="14350" y="2455"/>
              <a:ext cx="2832" cy="1339"/>
            </a:xfrm>
            <a:custGeom>
              <a:avLst/>
              <a:gdLst>
                <a:gd name="connisteX0" fmla="*/ 192211 w 1798046"/>
                <a:gd name="connsiteY0" fmla="*/ 795290 h 850333"/>
                <a:gd name="connisteX1" fmla="*/ 1209481 w 1798046"/>
                <a:gd name="connsiteY1" fmla="*/ 847360 h 850333"/>
                <a:gd name="connisteX2" fmla="*/ 1549206 w 1798046"/>
                <a:gd name="connsiteY2" fmla="*/ 781955 h 850333"/>
                <a:gd name="connisteX3" fmla="*/ 1796856 w 1798046"/>
                <a:gd name="connsiteY3" fmla="*/ 377460 h 850333"/>
                <a:gd name="connisteX4" fmla="*/ 1470466 w 1798046"/>
                <a:gd name="connsiteY4" fmla="*/ 103775 h 850333"/>
                <a:gd name="connisteX5" fmla="*/ 1144711 w 1798046"/>
                <a:gd name="connsiteY5" fmla="*/ 12335 h 850333"/>
                <a:gd name="connisteX6" fmla="*/ 804986 w 1798046"/>
                <a:gd name="connsiteY6" fmla="*/ 25035 h 850333"/>
                <a:gd name="connisteX7" fmla="*/ 804986 w 1798046"/>
                <a:gd name="connsiteY7" fmla="*/ 181880 h 850333"/>
                <a:gd name="connisteX8" fmla="*/ 1405696 w 1798046"/>
                <a:gd name="connsiteY8" fmla="*/ 207915 h 850333"/>
                <a:gd name="connisteX9" fmla="*/ 1692716 w 1798046"/>
                <a:gd name="connsiteY9" fmla="*/ 482235 h 850333"/>
                <a:gd name="connisteX10" fmla="*/ 1392361 w 1798046"/>
                <a:gd name="connsiteY10" fmla="*/ 651780 h 850333"/>
                <a:gd name="connisteX11" fmla="*/ 740216 w 1798046"/>
                <a:gd name="connsiteY11" fmla="*/ 703850 h 850333"/>
                <a:gd name="connisteX12" fmla="*/ 230946 w 1798046"/>
                <a:gd name="connsiteY12" fmla="*/ 717185 h 850333"/>
                <a:gd name="connisteX13" fmla="*/ 9331 w 1798046"/>
                <a:gd name="connsiteY13" fmla="*/ 769255 h 850333"/>
                <a:gd name="connisteX14" fmla="*/ 192211 w 1798046"/>
                <a:gd name="connsiteY14" fmla="*/ 795290 h 85033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Lst>
              <a:rect l="l" t="t" r="r" b="b"/>
              <a:pathLst>
                <a:path w="1798047" h="850333">
                  <a:moveTo>
                    <a:pt x="192211" y="795290"/>
                  </a:moveTo>
                  <a:cubicBezTo>
                    <a:pt x="432241" y="811165"/>
                    <a:pt x="938336" y="849900"/>
                    <a:pt x="1209481" y="847360"/>
                  </a:cubicBezTo>
                  <a:cubicBezTo>
                    <a:pt x="1480626" y="844820"/>
                    <a:pt x="1431731" y="875935"/>
                    <a:pt x="1549206" y="781955"/>
                  </a:cubicBezTo>
                  <a:cubicBezTo>
                    <a:pt x="1666681" y="687975"/>
                    <a:pt x="1812731" y="513350"/>
                    <a:pt x="1796856" y="377460"/>
                  </a:cubicBezTo>
                  <a:cubicBezTo>
                    <a:pt x="1780981" y="241570"/>
                    <a:pt x="1600641" y="176800"/>
                    <a:pt x="1470466" y="103775"/>
                  </a:cubicBezTo>
                  <a:cubicBezTo>
                    <a:pt x="1340291" y="30750"/>
                    <a:pt x="1278061" y="28210"/>
                    <a:pt x="1144711" y="12335"/>
                  </a:cubicBezTo>
                  <a:cubicBezTo>
                    <a:pt x="1011361" y="-3540"/>
                    <a:pt x="872931" y="-8620"/>
                    <a:pt x="804986" y="25035"/>
                  </a:cubicBezTo>
                  <a:cubicBezTo>
                    <a:pt x="737041" y="58690"/>
                    <a:pt x="684971" y="145050"/>
                    <a:pt x="804986" y="181880"/>
                  </a:cubicBezTo>
                  <a:cubicBezTo>
                    <a:pt x="925001" y="218710"/>
                    <a:pt x="1227896" y="147590"/>
                    <a:pt x="1405696" y="207915"/>
                  </a:cubicBezTo>
                  <a:cubicBezTo>
                    <a:pt x="1583496" y="268240"/>
                    <a:pt x="1695256" y="393335"/>
                    <a:pt x="1692716" y="482235"/>
                  </a:cubicBezTo>
                  <a:cubicBezTo>
                    <a:pt x="1690176" y="571135"/>
                    <a:pt x="1582861" y="607330"/>
                    <a:pt x="1392361" y="651780"/>
                  </a:cubicBezTo>
                  <a:cubicBezTo>
                    <a:pt x="1201861" y="696230"/>
                    <a:pt x="972626" y="690515"/>
                    <a:pt x="740216" y="703850"/>
                  </a:cubicBezTo>
                  <a:cubicBezTo>
                    <a:pt x="507806" y="717185"/>
                    <a:pt x="376996" y="703850"/>
                    <a:pt x="230946" y="717185"/>
                  </a:cubicBezTo>
                  <a:cubicBezTo>
                    <a:pt x="84896" y="730520"/>
                    <a:pt x="16951" y="753380"/>
                    <a:pt x="9331" y="769255"/>
                  </a:cubicBezTo>
                  <a:cubicBezTo>
                    <a:pt x="1711" y="785130"/>
                    <a:pt x="-47819" y="779415"/>
                    <a:pt x="192211" y="795290"/>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22"/>
              </p:custDataLst>
            </p:nvPr>
          </p:nvSpPr>
          <p:spPr>
            <a:xfrm>
              <a:off x="13177" y="6052"/>
              <a:ext cx="1147" cy="699"/>
            </a:xfrm>
            <a:custGeom>
              <a:avLst/>
              <a:gdLst>
                <a:gd name="connisteX0" fmla="*/ 544702 w 728205"/>
                <a:gd name="connsiteY0" fmla="*/ 544 h 443874"/>
                <a:gd name="connisteX1" fmla="*/ 48767 w 728205"/>
                <a:gd name="connsiteY1" fmla="*/ 65949 h 443874"/>
                <a:gd name="connisteX2" fmla="*/ 75437 w 728205"/>
                <a:gd name="connsiteY2" fmla="*/ 196124 h 443874"/>
                <a:gd name="connisteX3" fmla="*/ 349122 w 728205"/>
                <a:gd name="connsiteY3" fmla="*/ 339634 h 443874"/>
                <a:gd name="connisteX4" fmla="*/ 727582 w 728205"/>
                <a:gd name="connsiteY4" fmla="*/ 443774 h 443874"/>
                <a:gd name="connisteX5" fmla="*/ 414527 w 728205"/>
                <a:gd name="connsiteY5" fmla="*/ 352969 h 443874"/>
                <a:gd name="connisteX6" fmla="*/ 114172 w 728205"/>
                <a:gd name="connsiteY6" fmla="*/ 209459 h 443874"/>
                <a:gd name="connisteX7" fmla="*/ 257682 w 728205"/>
                <a:gd name="connsiteY7" fmla="*/ 91984 h 443874"/>
                <a:gd name="connisteX8" fmla="*/ 544702 w 728205"/>
                <a:gd name="connsiteY8" fmla="*/ 544 h 44387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728205" h="443875">
                  <a:moveTo>
                    <a:pt x="544702" y="545"/>
                  </a:moveTo>
                  <a:cubicBezTo>
                    <a:pt x="502792" y="-4535"/>
                    <a:pt x="142747" y="26580"/>
                    <a:pt x="48767" y="65950"/>
                  </a:cubicBezTo>
                  <a:cubicBezTo>
                    <a:pt x="-45213" y="105320"/>
                    <a:pt x="15112" y="141515"/>
                    <a:pt x="75437" y="196125"/>
                  </a:cubicBezTo>
                  <a:cubicBezTo>
                    <a:pt x="135762" y="250735"/>
                    <a:pt x="218947" y="290105"/>
                    <a:pt x="349122" y="339635"/>
                  </a:cubicBezTo>
                  <a:cubicBezTo>
                    <a:pt x="479297" y="389165"/>
                    <a:pt x="714247" y="441235"/>
                    <a:pt x="727582" y="443775"/>
                  </a:cubicBezTo>
                  <a:cubicBezTo>
                    <a:pt x="740917" y="446315"/>
                    <a:pt x="537082" y="399960"/>
                    <a:pt x="414527" y="352970"/>
                  </a:cubicBezTo>
                  <a:cubicBezTo>
                    <a:pt x="291972" y="305980"/>
                    <a:pt x="145287" y="261530"/>
                    <a:pt x="114172" y="209460"/>
                  </a:cubicBezTo>
                  <a:cubicBezTo>
                    <a:pt x="83057" y="157390"/>
                    <a:pt x="171322" y="133895"/>
                    <a:pt x="257682" y="91985"/>
                  </a:cubicBezTo>
                  <a:cubicBezTo>
                    <a:pt x="344042" y="50075"/>
                    <a:pt x="586612" y="5625"/>
                    <a:pt x="544702" y="545"/>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任意多边形 25"/>
            <p:cNvSpPr/>
            <p:nvPr>
              <p:custDataLst>
                <p:tags r:id="rId23"/>
              </p:custDataLst>
            </p:nvPr>
          </p:nvSpPr>
          <p:spPr>
            <a:xfrm>
              <a:off x="15350" y="5247"/>
              <a:ext cx="1469" cy="783"/>
            </a:xfrm>
            <a:custGeom>
              <a:avLst/>
              <a:gdLst>
                <a:gd name="connisteX0" fmla="*/ 8 w 932589"/>
                <a:gd name="connsiteY0" fmla="*/ 457550 h 497228"/>
                <a:gd name="connisteX1" fmla="*/ 717558 w 932589"/>
                <a:gd name="connsiteY1" fmla="*/ 470885 h 497228"/>
                <a:gd name="connisteX2" fmla="*/ 913138 w 932589"/>
                <a:gd name="connsiteY2" fmla="*/ 157195 h 497228"/>
                <a:gd name="connisteX3" fmla="*/ 430538 w 932589"/>
                <a:gd name="connsiteY3" fmla="*/ 27020 h 497228"/>
                <a:gd name="connisteX4" fmla="*/ 169553 w 932589"/>
                <a:gd name="connsiteY4" fmla="*/ 13685 h 497228"/>
                <a:gd name="connisteX5" fmla="*/ 665488 w 932589"/>
                <a:gd name="connsiteY5" fmla="*/ 144495 h 497228"/>
                <a:gd name="connisteX6" fmla="*/ 795663 w 932589"/>
                <a:gd name="connsiteY6" fmla="*/ 288005 h 497228"/>
                <a:gd name="connisteX7" fmla="*/ 704223 w 932589"/>
                <a:gd name="connsiteY7" fmla="*/ 405480 h 497228"/>
                <a:gd name="connisteX8" fmla="*/ 8 w 932589"/>
                <a:gd name="connsiteY8" fmla="*/ 457550 h 4972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932589" h="497228">
                  <a:moveTo>
                    <a:pt x="9" y="457551"/>
                  </a:moveTo>
                  <a:cubicBezTo>
                    <a:pt x="2549" y="470886"/>
                    <a:pt x="534679" y="531211"/>
                    <a:pt x="717559" y="470886"/>
                  </a:cubicBezTo>
                  <a:cubicBezTo>
                    <a:pt x="900439" y="410561"/>
                    <a:pt x="970289" y="246096"/>
                    <a:pt x="913139" y="157196"/>
                  </a:cubicBezTo>
                  <a:cubicBezTo>
                    <a:pt x="855989" y="68296"/>
                    <a:pt x="579129" y="55596"/>
                    <a:pt x="430539" y="27021"/>
                  </a:cubicBezTo>
                  <a:cubicBezTo>
                    <a:pt x="281949" y="-1554"/>
                    <a:pt x="122564" y="-9809"/>
                    <a:pt x="169554" y="13686"/>
                  </a:cubicBezTo>
                  <a:cubicBezTo>
                    <a:pt x="216544" y="37181"/>
                    <a:pt x="540394" y="89886"/>
                    <a:pt x="665489" y="144496"/>
                  </a:cubicBezTo>
                  <a:cubicBezTo>
                    <a:pt x="790584" y="199106"/>
                    <a:pt x="788044" y="235936"/>
                    <a:pt x="795664" y="288006"/>
                  </a:cubicBezTo>
                  <a:cubicBezTo>
                    <a:pt x="803284" y="340076"/>
                    <a:pt x="863609" y="371826"/>
                    <a:pt x="704224" y="405481"/>
                  </a:cubicBezTo>
                  <a:cubicBezTo>
                    <a:pt x="544839" y="439136"/>
                    <a:pt x="-2531" y="444216"/>
                    <a:pt x="9" y="457551"/>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24"/>
              </p:custDataLst>
            </p:nvPr>
          </p:nvSpPr>
          <p:spPr>
            <a:xfrm>
              <a:off x="14534" y="6381"/>
              <a:ext cx="1917" cy="580"/>
            </a:xfrm>
            <a:custGeom>
              <a:avLst/>
              <a:gdLst>
                <a:gd name="connisteX0" fmla="*/ 1266 w 1217251"/>
                <a:gd name="connsiteY0" fmla="*/ 342163 h 368584"/>
                <a:gd name="connisteX1" fmla="*/ 758186 w 1217251"/>
                <a:gd name="connsiteY1" fmla="*/ 368198 h 368584"/>
                <a:gd name="connisteX2" fmla="*/ 1188716 w 1217251"/>
                <a:gd name="connsiteY2" fmla="*/ 328828 h 368584"/>
                <a:gd name="connisteX3" fmla="*/ 1123311 w 1217251"/>
                <a:gd name="connsiteY3" fmla="*/ 107213 h 368584"/>
                <a:gd name="connisteX4" fmla="*/ 914396 w 1217251"/>
                <a:gd name="connsiteY4" fmla="*/ 15773 h 368584"/>
                <a:gd name="connisteX5" fmla="*/ 758186 w 1217251"/>
                <a:gd name="connsiteY5" fmla="*/ 15773 h 368584"/>
                <a:gd name="connisteX6" fmla="*/ 1005836 w 1217251"/>
                <a:gd name="connsiteY6" fmla="*/ 133248 h 368584"/>
                <a:gd name="connisteX7" fmla="*/ 914396 w 1217251"/>
                <a:gd name="connsiteY7" fmla="*/ 276758 h 368584"/>
                <a:gd name="connisteX8" fmla="*/ 1266 w 1217251"/>
                <a:gd name="connsiteY8" fmla="*/ 342163 h 36858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1217252" h="368584">
                  <a:moveTo>
                    <a:pt x="1266" y="342164"/>
                  </a:moveTo>
                  <a:cubicBezTo>
                    <a:pt x="-29849" y="360579"/>
                    <a:pt x="520696" y="370739"/>
                    <a:pt x="758186" y="368199"/>
                  </a:cubicBezTo>
                  <a:cubicBezTo>
                    <a:pt x="995676" y="365659"/>
                    <a:pt x="1115691" y="380899"/>
                    <a:pt x="1188716" y="328829"/>
                  </a:cubicBezTo>
                  <a:cubicBezTo>
                    <a:pt x="1261741" y="276759"/>
                    <a:pt x="1177921" y="170079"/>
                    <a:pt x="1123311" y="107214"/>
                  </a:cubicBezTo>
                  <a:cubicBezTo>
                    <a:pt x="1068701" y="44349"/>
                    <a:pt x="987421" y="34189"/>
                    <a:pt x="914396" y="15774"/>
                  </a:cubicBezTo>
                  <a:cubicBezTo>
                    <a:pt x="841371" y="-2641"/>
                    <a:pt x="739771" y="-7721"/>
                    <a:pt x="758186" y="15774"/>
                  </a:cubicBezTo>
                  <a:cubicBezTo>
                    <a:pt x="776601" y="39269"/>
                    <a:pt x="974721" y="81179"/>
                    <a:pt x="1005836" y="133249"/>
                  </a:cubicBezTo>
                  <a:cubicBezTo>
                    <a:pt x="1036951" y="185319"/>
                    <a:pt x="1115056" y="234849"/>
                    <a:pt x="914396" y="276759"/>
                  </a:cubicBezTo>
                  <a:cubicBezTo>
                    <a:pt x="713736" y="318669"/>
                    <a:pt x="32381" y="323749"/>
                    <a:pt x="1266" y="342164"/>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25"/>
              </p:custDataLst>
            </p:nvPr>
          </p:nvSpPr>
          <p:spPr>
            <a:xfrm>
              <a:off x="15350" y="2319"/>
              <a:ext cx="3278" cy="1914"/>
            </a:xfrm>
            <a:custGeom>
              <a:avLst/>
              <a:gdLst>
                <a:gd name="connisteX0" fmla="*/ 321740 w 2081616"/>
                <a:gd name="connsiteY0" fmla="*/ 1193390 h 1215641"/>
                <a:gd name="connisteX1" fmla="*/ 1483155 w 2081616"/>
                <a:gd name="connsiteY1" fmla="*/ 1075915 h 1215641"/>
                <a:gd name="connisteX2" fmla="*/ 2017825 w 2081616"/>
                <a:gd name="connsiteY2" fmla="*/ 880335 h 1215641"/>
                <a:gd name="connisteX3" fmla="*/ 2017825 w 2081616"/>
                <a:gd name="connsiteY3" fmla="*/ 514575 h 1215641"/>
                <a:gd name="connisteX4" fmla="*/ 1717470 w 2081616"/>
                <a:gd name="connsiteY4" fmla="*/ 110080 h 1215641"/>
                <a:gd name="connisteX5" fmla="*/ 1065325 w 2081616"/>
                <a:gd name="connsiteY5" fmla="*/ 18640 h 1215641"/>
                <a:gd name="connisteX6" fmla="*/ 1744140 w 2081616"/>
                <a:gd name="connsiteY6" fmla="*/ 332330 h 1215641"/>
                <a:gd name="connisteX7" fmla="*/ 1744140 w 2081616"/>
                <a:gd name="connsiteY7" fmla="*/ 814930 h 1215641"/>
                <a:gd name="connisteX8" fmla="*/ 138860 w 2081616"/>
                <a:gd name="connsiteY8" fmla="*/ 1167355 h 1215641"/>
                <a:gd name="connisteX9" fmla="*/ 321740 w 2081616"/>
                <a:gd name="connsiteY9" fmla="*/ 1193390 h 121564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2081616" h="1215641">
                  <a:moveTo>
                    <a:pt x="321741" y="1193391"/>
                  </a:moveTo>
                  <a:cubicBezTo>
                    <a:pt x="590346" y="1174976"/>
                    <a:pt x="1144066" y="1138781"/>
                    <a:pt x="1483156" y="1075916"/>
                  </a:cubicBezTo>
                  <a:cubicBezTo>
                    <a:pt x="1822246" y="1013051"/>
                    <a:pt x="1911146" y="992731"/>
                    <a:pt x="2017826" y="880336"/>
                  </a:cubicBezTo>
                  <a:cubicBezTo>
                    <a:pt x="2124506" y="767941"/>
                    <a:pt x="2078151" y="668881"/>
                    <a:pt x="2017826" y="514576"/>
                  </a:cubicBezTo>
                  <a:cubicBezTo>
                    <a:pt x="1957501" y="360271"/>
                    <a:pt x="1907971" y="209141"/>
                    <a:pt x="1717471" y="110081"/>
                  </a:cubicBezTo>
                  <a:cubicBezTo>
                    <a:pt x="1526971" y="11021"/>
                    <a:pt x="1060246" y="-25809"/>
                    <a:pt x="1065326" y="18641"/>
                  </a:cubicBezTo>
                  <a:cubicBezTo>
                    <a:pt x="1070406" y="63091"/>
                    <a:pt x="1608251" y="172946"/>
                    <a:pt x="1744141" y="332331"/>
                  </a:cubicBezTo>
                  <a:cubicBezTo>
                    <a:pt x="1880031" y="491716"/>
                    <a:pt x="2065451" y="647926"/>
                    <a:pt x="1744141" y="814931"/>
                  </a:cubicBezTo>
                  <a:cubicBezTo>
                    <a:pt x="1422831" y="981936"/>
                    <a:pt x="423341" y="1091791"/>
                    <a:pt x="138861" y="1167356"/>
                  </a:cubicBezTo>
                  <a:cubicBezTo>
                    <a:pt x="-145619" y="1242921"/>
                    <a:pt x="53136" y="1211806"/>
                    <a:pt x="321741" y="1193391"/>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26"/>
              </p:custDataLst>
            </p:nvPr>
          </p:nvSpPr>
          <p:spPr>
            <a:xfrm>
              <a:off x="14580" y="7573"/>
              <a:ext cx="2372" cy="517"/>
            </a:xfrm>
            <a:custGeom>
              <a:avLst/>
              <a:gdLst>
                <a:gd name="connisteX0" fmla="*/ 199 w 1506163"/>
                <a:gd name="connsiteY0" fmla="*/ 580732 h 592149"/>
                <a:gd name="connisteX1" fmla="*/ 1253054 w 1506163"/>
                <a:gd name="connsiteY1" fmla="*/ 541997 h 592149"/>
                <a:gd name="connisteX2" fmla="*/ 1488004 w 1506163"/>
                <a:gd name="connsiteY2" fmla="*/ 333082 h 592149"/>
                <a:gd name="connisteX3" fmla="*/ 1109544 w 1506163"/>
                <a:gd name="connsiteY3" fmla="*/ 46062 h 592149"/>
                <a:gd name="connisteX4" fmla="*/ 835224 w 1506163"/>
                <a:gd name="connsiteY4" fmla="*/ 32727 h 592149"/>
                <a:gd name="connisteX5" fmla="*/ 1266389 w 1506163"/>
                <a:gd name="connsiteY5" fmla="*/ 267677 h 592149"/>
                <a:gd name="connisteX6" fmla="*/ 1174949 w 1506163"/>
                <a:gd name="connsiteY6" fmla="*/ 424522 h 592149"/>
                <a:gd name="connisteX7" fmla="*/ 199 w 1506163"/>
                <a:gd name="connsiteY7" fmla="*/ 580732 h 59214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506164" h="592149">
                  <a:moveTo>
                    <a:pt x="199" y="580733"/>
                  </a:moveTo>
                  <a:cubicBezTo>
                    <a:pt x="16074" y="604228"/>
                    <a:pt x="955239" y="591528"/>
                    <a:pt x="1253054" y="541998"/>
                  </a:cubicBezTo>
                  <a:cubicBezTo>
                    <a:pt x="1550869" y="492468"/>
                    <a:pt x="1516579" y="432143"/>
                    <a:pt x="1488004" y="333083"/>
                  </a:cubicBezTo>
                  <a:cubicBezTo>
                    <a:pt x="1459429" y="234023"/>
                    <a:pt x="1240354" y="106388"/>
                    <a:pt x="1109544" y="46063"/>
                  </a:cubicBezTo>
                  <a:cubicBezTo>
                    <a:pt x="978734" y="-14262"/>
                    <a:pt x="804109" y="-11722"/>
                    <a:pt x="835224" y="32728"/>
                  </a:cubicBezTo>
                  <a:cubicBezTo>
                    <a:pt x="866339" y="77178"/>
                    <a:pt x="1198444" y="189573"/>
                    <a:pt x="1266389" y="267678"/>
                  </a:cubicBezTo>
                  <a:cubicBezTo>
                    <a:pt x="1334334" y="345783"/>
                    <a:pt x="1428314" y="361658"/>
                    <a:pt x="1174949" y="424523"/>
                  </a:cubicBezTo>
                  <a:cubicBezTo>
                    <a:pt x="921584" y="487388"/>
                    <a:pt x="-15676" y="557238"/>
                    <a:pt x="199" y="580733"/>
                  </a:cubicBez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1" name="组合 30"/>
          <p:cNvGrpSpPr/>
          <p:nvPr/>
        </p:nvGrpSpPr>
        <p:grpSpPr>
          <a:xfrm>
            <a:off x="6350000" y="676275"/>
            <a:ext cx="6195060" cy="1886585"/>
            <a:chOff x="9126" y="1164"/>
            <a:chExt cx="9756" cy="2971"/>
          </a:xfrm>
        </p:grpSpPr>
        <p:sp>
          <p:nvSpPr>
            <p:cNvPr id="32" name="云形 31"/>
            <p:cNvSpPr/>
            <p:nvPr>
              <p:custDataLst>
                <p:tags r:id="rId27"/>
              </p:custDataLst>
            </p:nvPr>
          </p:nvSpPr>
          <p:spPr>
            <a:xfrm>
              <a:off x="12801" y="1957"/>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云形 32"/>
            <p:cNvSpPr/>
            <p:nvPr>
              <p:custDataLst>
                <p:tags r:id="rId28"/>
              </p:custDataLst>
            </p:nvPr>
          </p:nvSpPr>
          <p:spPr>
            <a:xfrm>
              <a:off x="9126" y="1751"/>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云形 33"/>
            <p:cNvSpPr/>
            <p:nvPr>
              <p:custDataLst>
                <p:tags r:id="rId29"/>
              </p:custDataLst>
            </p:nvPr>
          </p:nvSpPr>
          <p:spPr>
            <a:xfrm>
              <a:off x="13498" y="1370"/>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云形 34"/>
            <p:cNvSpPr/>
            <p:nvPr>
              <p:custDataLst>
                <p:tags r:id="rId30"/>
              </p:custDataLst>
            </p:nvPr>
          </p:nvSpPr>
          <p:spPr>
            <a:xfrm>
              <a:off x="9823" y="1164"/>
              <a:ext cx="5384" cy="2178"/>
            </a:xfrm>
            <a:prstGeom prst="cloud">
              <a:avLst/>
            </a:prstGeom>
            <a:solidFill>
              <a:schemeClr val="lt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6" name="组合 35"/>
          <p:cNvGrpSpPr/>
          <p:nvPr/>
        </p:nvGrpSpPr>
        <p:grpSpPr>
          <a:xfrm>
            <a:off x="10829290" y="4363720"/>
            <a:ext cx="720090" cy="772795"/>
            <a:chOff x="17259" y="6872"/>
            <a:chExt cx="1134" cy="1217"/>
          </a:xfrm>
          <a:solidFill>
            <a:schemeClr val="accent2">
              <a:lumMod val="50000"/>
            </a:schemeClr>
          </a:solidFill>
        </p:grpSpPr>
        <p:sp>
          <p:nvSpPr>
            <p:cNvPr id="37" name="立方体 36"/>
            <p:cNvSpPr/>
            <p:nvPr>
              <p:custDataLst>
                <p:tags r:id="rId31"/>
              </p:custDataLst>
            </p:nvPr>
          </p:nvSpPr>
          <p:spPr>
            <a:xfrm>
              <a:off x="17342" y="7113"/>
              <a:ext cx="983" cy="977"/>
            </a:xfrm>
            <a:prstGeom prst="cub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8" name="半闭框 37"/>
            <p:cNvSpPr/>
            <p:nvPr>
              <p:custDataLst>
                <p:tags r:id="rId32"/>
              </p:custDataLst>
            </p:nvPr>
          </p:nvSpPr>
          <p:spPr>
            <a:xfrm rot="2700000">
              <a:off x="17259" y="6872"/>
              <a:ext cx="1134" cy="1134"/>
            </a:xfrm>
            <a:prstGeom prst="halfFrame">
              <a:avLst>
                <a:gd name="adj1" fmla="val 33333"/>
                <a:gd name="adj2" fmla="val 1789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Tree>
    <p:custDataLst>
      <p:tags r:id="rId33"/>
    </p:custData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3784600"/>
          </a:xfrm>
          <a:prstGeom prst="rect">
            <a:avLst/>
          </a:prstGeom>
          <a:noFill/>
        </p:spPr>
        <p:txBody>
          <a:bodyPr wrap="square" rtlCol="0">
            <a:spAutoFit/>
          </a:bodyPr>
          <a:lstStyle/>
          <a:p>
            <a:pPr>
              <a:lnSpc>
                <a:spcPct val="150000"/>
              </a:lnSpc>
            </a:pPr>
            <a:r>
              <a:rPr sz="2000">
                <a:solidFill>
                  <a:schemeClr val="dk1"/>
                </a:solidFill>
              </a:rPr>
              <a:t>（1）龙卷风的预兆：</a:t>
            </a:r>
            <a:endParaRPr sz="2000">
              <a:solidFill>
                <a:schemeClr val="dk1"/>
              </a:solidFill>
            </a:endParaRPr>
          </a:p>
          <a:p>
            <a:pPr>
              <a:lnSpc>
                <a:spcPct val="150000"/>
              </a:lnSpc>
            </a:pPr>
            <a:r>
              <a:rPr sz="2000">
                <a:solidFill>
                  <a:schemeClr val="dk1"/>
                </a:solidFill>
              </a:rPr>
              <a:t>①强烈的，连续旋转的乌云。</a:t>
            </a:r>
            <a:endParaRPr sz="2000">
              <a:solidFill>
                <a:schemeClr val="dk1"/>
              </a:solidFill>
            </a:endParaRPr>
          </a:p>
          <a:p>
            <a:pPr>
              <a:lnSpc>
                <a:spcPct val="150000"/>
              </a:lnSpc>
            </a:pPr>
            <a:r>
              <a:rPr sz="2000">
                <a:solidFill>
                  <a:schemeClr val="dk1"/>
                </a:solidFill>
              </a:rPr>
              <a:t>②在云层下的地面上，有旋转的尘土和碎片。</a:t>
            </a:r>
            <a:endParaRPr sz="2000">
              <a:solidFill>
                <a:schemeClr val="dk1"/>
              </a:solidFill>
            </a:endParaRPr>
          </a:p>
          <a:p>
            <a:pPr>
              <a:lnSpc>
                <a:spcPct val="150000"/>
              </a:lnSpc>
            </a:pPr>
            <a:r>
              <a:rPr sz="2000">
                <a:solidFill>
                  <a:schemeClr val="dk1"/>
                </a:solidFill>
              </a:rPr>
              <a:t>③随着冰雹和雷雨，风向在不断地转变。</a:t>
            </a:r>
            <a:endParaRPr sz="2000">
              <a:solidFill>
                <a:schemeClr val="dk1"/>
              </a:solidFill>
            </a:endParaRPr>
          </a:p>
          <a:p>
            <a:pPr>
              <a:lnSpc>
                <a:spcPct val="150000"/>
              </a:lnSpc>
            </a:pPr>
            <a:r>
              <a:rPr sz="2000">
                <a:solidFill>
                  <a:schemeClr val="dk1"/>
                </a:solidFill>
              </a:rPr>
              <a:t>④持久不断的隆隆雷声。</a:t>
            </a:r>
            <a:endParaRPr sz="2000">
              <a:solidFill>
                <a:schemeClr val="dk1"/>
              </a:solidFill>
            </a:endParaRPr>
          </a:p>
          <a:p>
            <a:pPr>
              <a:lnSpc>
                <a:spcPct val="150000"/>
              </a:lnSpc>
            </a:pPr>
            <a:r>
              <a:rPr sz="2000">
                <a:solidFill>
                  <a:schemeClr val="dk1"/>
                </a:solidFill>
              </a:rPr>
              <a:t>⑤在掉落在地面上的电线附近，有明亮的，蓝绿色的火花。</a:t>
            </a:r>
            <a:endParaRPr sz="2000">
              <a:solidFill>
                <a:schemeClr val="dk1"/>
              </a:solidFill>
            </a:endParaRPr>
          </a:p>
          <a:p>
            <a:pPr>
              <a:lnSpc>
                <a:spcPct val="150000"/>
              </a:lnSpc>
            </a:pPr>
            <a:r>
              <a:rPr sz="2000">
                <a:solidFill>
                  <a:schemeClr val="dk1"/>
                </a:solidFill>
              </a:rPr>
              <a:t>⑥盘旋的底云层。</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2）龙卷风的防备：</a:t>
            </a:r>
            <a:endParaRPr sz="2000">
              <a:solidFill>
                <a:schemeClr val="dk1"/>
              </a:solidFill>
            </a:endParaRPr>
          </a:p>
          <a:p>
            <a:pPr>
              <a:lnSpc>
                <a:spcPct val="150000"/>
              </a:lnSpc>
            </a:pPr>
            <a:r>
              <a:rPr sz="2000">
                <a:solidFill>
                  <a:schemeClr val="dk1"/>
                </a:solidFill>
              </a:rPr>
              <a:t>①有地下室的房屋：避开所有的窗户，立刻进入地下室，躲在坚实的桌子或工作台下。千万不要躲在重物附近的地方，以免龙卷风破坏了房屋的结构，造成这些重物倒塌而压在您的身上。</a:t>
            </a:r>
            <a:endParaRPr sz="2000">
              <a:solidFill>
                <a:schemeClr val="dk1"/>
              </a:solidFill>
            </a:endParaRPr>
          </a:p>
          <a:p>
            <a:pPr>
              <a:lnSpc>
                <a:spcPct val="150000"/>
              </a:lnSpc>
            </a:pPr>
            <a:r>
              <a:rPr sz="2000">
                <a:solidFill>
                  <a:schemeClr val="dk1"/>
                </a:solidFill>
              </a:rPr>
              <a:t>②没有地下室的房屋或公寓房：避开所有的窗户，立即进入一间小的，位於中间的房子，如厕所，壁橱或最底层的内部过道。脸朝下，用手护住头部，尽可能的蹲伏于地板上。用厚的垫子，如床垫或毯子盖在身上，以防掉落的碎物砸伤身子。</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③办公楼、医院、老人院或摩天高楼：立即进入楼房中心，封闭的，无窗户的区域。尽可能的避开窗户。内部楼梯过道是最好的避难所。因为在紧急情况下，它们也是进入楼房其它地方的通道。一定要避开电梯，因为如果一旦停电，您将可能被困在电梯内。</a:t>
            </a:r>
            <a:endParaRPr sz="2000">
              <a:solidFill>
                <a:schemeClr val="dk1"/>
              </a:solidFill>
            </a:endParaRPr>
          </a:p>
          <a:p>
            <a:pPr>
              <a:lnSpc>
                <a:spcPct val="150000"/>
              </a:lnSpc>
            </a:pPr>
            <a:r>
              <a:rPr sz="2000">
                <a:solidFill>
                  <a:schemeClr val="dk1"/>
                </a:solidFill>
              </a:rPr>
              <a:t>④活动房屋（住房拖车）在龙卷风期间，切记不可因为任何原因而停留在活动房屋内。在活动房屋外面远比在活动房屋内有更大的存活机会。如果您的社区有龙卷风避难所，或者附近有一个坚实的建筑物，请您尽可能的进去。</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707890"/>
          </a:xfrm>
          <a:prstGeom prst="rect">
            <a:avLst/>
          </a:prstGeom>
          <a:noFill/>
        </p:spPr>
        <p:txBody>
          <a:bodyPr wrap="square" rtlCol="0">
            <a:spAutoFit/>
          </a:bodyPr>
          <a:lstStyle/>
          <a:p>
            <a:pPr>
              <a:lnSpc>
                <a:spcPct val="150000"/>
              </a:lnSpc>
            </a:pPr>
            <a:r>
              <a:rPr sz="2000" dirty="0">
                <a:solidFill>
                  <a:schemeClr val="dk1"/>
                </a:solidFill>
              </a:rPr>
              <a:t>⑤</a:t>
            </a:r>
            <a:r>
              <a:rPr sz="2000" dirty="0" err="1">
                <a:solidFill>
                  <a:schemeClr val="dk1"/>
                </a:solidFill>
              </a:rPr>
              <a:t>遵循预先操练的规定，听从负责人的指挥，有秩序地走进学校建筑内部过道或房间</a:t>
            </a:r>
            <a:r>
              <a:rPr sz="2000" dirty="0">
                <a:solidFill>
                  <a:schemeClr val="dk1"/>
                </a:solidFill>
              </a:rPr>
              <a:t>，</a:t>
            </a:r>
            <a:r>
              <a:rPr sz="2000" dirty="0" err="1">
                <a:solidFill>
                  <a:schemeClr val="dk1"/>
                </a:solidFill>
              </a:rPr>
              <a:t>躲在桌子下，用手护住您的头部。切记避开窗户和大的，宽阔的房间，如体育馆或礼堂</a:t>
            </a:r>
            <a:r>
              <a:rPr sz="2000" dirty="0">
                <a:solidFill>
                  <a:schemeClr val="dk1"/>
                </a:solidFill>
              </a:rPr>
              <a:t>。</a:t>
            </a:r>
            <a:endParaRPr sz="2000" dirty="0">
              <a:solidFill>
                <a:schemeClr val="dk1"/>
              </a:solidFill>
            </a:endParaRPr>
          </a:p>
          <a:p>
            <a:pPr>
              <a:lnSpc>
                <a:spcPct val="150000"/>
              </a:lnSpc>
            </a:pPr>
            <a:r>
              <a:rPr sz="2000" dirty="0">
                <a:solidFill>
                  <a:schemeClr val="dk1"/>
                </a:solidFill>
              </a:rPr>
              <a:t>⑥</a:t>
            </a:r>
            <a:r>
              <a:rPr sz="2000" dirty="0" err="1">
                <a:solidFill>
                  <a:schemeClr val="dk1"/>
                </a:solidFill>
              </a:rPr>
              <a:t>汽车或卡车：如果龙卷风逼近，而您正行驶在路上，请尽可能的沿着与龙卷风的路线垂直的方向行驶，以远离龙卷风。如果不可能，则弃车于路边安全的地方，而您则尽快地进入附近的建筑物</a:t>
            </a:r>
            <a:r>
              <a:rPr sz="2000" dirty="0">
                <a:solidFill>
                  <a:schemeClr val="dk1"/>
                </a:solidFill>
              </a:rPr>
              <a:t>。</a:t>
            </a:r>
            <a:endParaRPr sz="2000" dirty="0">
              <a:solidFill>
                <a:schemeClr val="dk1"/>
              </a:solidFill>
            </a:endParaRPr>
          </a:p>
          <a:p>
            <a:pPr>
              <a:lnSpc>
                <a:spcPct val="150000"/>
              </a:lnSpc>
            </a:pPr>
            <a:r>
              <a:rPr sz="2000" dirty="0">
                <a:solidFill>
                  <a:schemeClr val="dk1"/>
                </a:solidFill>
              </a:rPr>
              <a:t>⑦</a:t>
            </a:r>
            <a:r>
              <a:rPr sz="2000" dirty="0" err="1">
                <a:solidFill>
                  <a:schemeClr val="dk1"/>
                </a:solidFill>
              </a:rPr>
              <a:t>室外：如果附近有建筑物，请立即进入。如果没有，则平躺在地上，脸朝下，用手护住头部。切记不要躺在汽车或树附近，以免它们被龙卷风吹倒而砸着您</a:t>
            </a:r>
            <a:r>
              <a:rPr sz="2000" dirty="0">
                <a:solidFill>
                  <a:schemeClr val="dk1"/>
                </a:solidFill>
              </a:rPr>
              <a:t>。</a:t>
            </a:r>
            <a:endParaRPr sz="2000" dirty="0">
              <a:solidFill>
                <a:schemeClr val="dk1"/>
              </a:solidFill>
            </a:endParaRPr>
          </a:p>
          <a:p>
            <a:pPr>
              <a:lnSpc>
                <a:spcPct val="150000"/>
              </a:lnSpc>
            </a:pPr>
            <a:endParaRPr sz="2000" dirty="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2399665"/>
          </a:xfrm>
          <a:prstGeom prst="rect">
            <a:avLst/>
          </a:prstGeom>
          <a:noFill/>
        </p:spPr>
        <p:txBody>
          <a:bodyPr wrap="square" rtlCol="0">
            <a:spAutoFit/>
          </a:bodyPr>
          <a:lstStyle/>
          <a:p>
            <a:pPr>
              <a:lnSpc>
                <a:spcPct val="150000"/>
              </a:lnSpc>
            </a:pPr>
            <a:r>
              <a:rPr sz="2000">
                <a:solidFill>
                  <a:schemeClr val="dk1"/>
                </a:solidFill>
              </a:rPr>
              <a:t>⑧购物商场：千万不要惊慌！尽快地避开窗户，进入商场内部厕所，储藏室或其它封闭的地方。</a:t>
            </a:r>
            <a:endParaRPr sz="2000">
              <a:solidFill>
                <a:schemeClr val="dk1"/>
              </a:solidFill>
            </a:endParaRPr>
          </a:p>
          <a:p>
            <a:pPr>
              <a:lnSpc>
                <a:spcPct val="150000"/>
              </a:lnSpc>
            </a:pPr>
            <a:r>
              <a:rPr sz="2000">
                <a:solidFill>
                  <a:schemeClr val="dk1"/>
                </a:solidFill>
              </a:rPr>
              <a:t>⑨教堂或电影院：千万不要惊慌！尽快进入内部厕所或过道。脸朝下，用手护住头部，蹲伏在地上。如果需要，则躲藏在椅子下面，以获得进一步的保护。</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龙卷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泥石流</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6709410" cy="1938020"/>
          </a:xfrm>
          <a:prstGeom prst="rect">
            <a:avLst/>
          </a:prstGeom>
          <a:noFill/>
        </p:spPr>
        <p:txBody>
          <a:bodyPr wrap="square" rtlCol="0">
            <a:spAutoFit/>
          </a:bodyPr>
          <a:lstStyle/>
          <a:p>
            <a:pPr>
              <a:lnSpc>
                <a:spcPct val="150000"/>
              </a:lnSpc>
            </a:pPr>
            <a:r>
              <a:rPr sz="2000">
                <a:solidFill>
                  <a:schemeClr val="dk1"/>
                </a:solidFill>
              </a:rPr>
              <a:t>泥石流是一种土、石、水相混合的流动体,该流动体挟有的土石固体碎屑物含量在15%——80%，它不同于一般的山洪,其流速流量,冲刷撞击能力都远大于山洪,所以常给人民的生命财产及工农业生产造成巨大危害。</a:t>
            </a:r>
            <a:endParaRPr sz="2000">
              <a:solidFill>
                <a:schemeClr val="dk1"/>
              </a:solidFill>
            </a:endParaRPr>
          </a:p>
        </p:txBody>
      </p:sp>
      <p:grpSp>
        <p:nvGrpSpPr>
          <p:cNvPr id="71" name="组合 70"/>
          <p:cNvGrpSpPr/>
          <p:nvPr/>
        </p:nvGrpSpPr>
        <p:grpSpPr>
          <a:xfrm>
            <a:off x="6625590" y="2648026"/>
            <a:ext cx="4446905" cy="3180080"/>
            <a:chOff x="9896" y="7531"/>
            <a:chExt cx="3510" cy="2501"/>
          </a:xfrm>
        </p:grpSpPr>
        <p:sp>
          <p:nvSpPr>
            <p:cNvPr id="46" name="任意多边形 45"/>
            <p:cNvSpPr/>
            <p:nvPr>
              <p:custDataLst>
                <p:tags r:id="rId12"/>
              </p:custDataLst>
            </p:nvPr>
          </p:nvSpPr>
          <p:spPr>
            <a:xfrm>
              <a:off x="11034" y="7531"/>
              <a:ext cx="2252" cy="1972"/>
            </a:xfrm>
            <a:custGeom>
              <a:avLst/>
              <a:gdLst>
                <a:gd name="connsiteX0" fmla="*/ 1418 w 2252"/>
                <a:gd name="connsiteY0" fmla="*/ 128 h 1971"/>
                <a:gd name="connsiteX1" fmla="*/ 1068 w 2252"/>
                <a:gd name="connsiteY1" fmla="*/ 412 h 1971"/>
                <a:gd name="connsiteX2" fmla="*/ 806 w 2252"/>
                <a:gd name="connsiteY2" fmla="*/ 652 h 1971"/>
                <a:gd name="connsiteX3" fmla="*/ 580 w 2252"/>
                <a:gd name="connsiteY3" fmla="*/ 972 h 1971"/>
                <a:gd name="connsiteX4" fmla="*/ 478 w 2252"/>
                <a:gd name="connsiteY4" fmla="*/ 1198 h 1971"/>
                <a:gd name="connsiteX5" fmla="*/ 340 w 2252"/>
                <a:gd name="connsiteY5" fmla="*/ 1358 h 1971"/>
                <a:gd name="connsiteX6" fmla="*/ 85 w 2252"/>
                <a:gd name="connsiteY6" fmla="*/ 1409 h 1971"/>
                <a:gd name="connsiteX7" fmla="*/ 42 w 2252"/>
                <a:gd name="connsiteY7" fmla="*/ 1504 h 1971"/>
                <a:gd name="connsiteX8" fmla="*/ 5 w 2252"/>
                <a:gd name="connsiteY8" fmla="*/ 1817 h 1971"/>
                <a:gd name="connsiteX9" fmla="*/ 136 w 2252"/>
                <a:gd name="connsiteY9" fmla="*/ 1963 h 1971"/>
                <a:gd name="connsiteX10" fmla="*/ 289 w 2252"/>
                <a:gd name="connsiteY10" fmla="*/ 1912 h 1971"/>
                <a:gd name="connsiteX11" fmla="*/ 391 w 2252"/>
                <a:gd name="connsiteY11" fmla="*/ 1657 h 1971"/>
                <a:gd name="connsiteX12" fmla="*/ 660 w 2252"/>
                <a:gd name="connsiteY12" fmla="*/ 1263 h 1971"/>
                <a:gd name="connsiteX13" fmla="*/ 821 w 2252"/>
                <a:gd name="connsiteY13" fmla="*/ 936 h 1971"/>
                <a:gd name="connsiteX14" fmla="*/ 1141 w 2252"/>
                <a:gd name="connsiteY14" fmla="*/ 717 h 1971"/>
                <a:gd name="connsiteX15" fmla="*/ 1352 w 2252"/>
                <a:gd name="connsiteY15" fmla="*/ 433 h 1971"/>
                <a:gd name="connsiteX16" fmla="*/ 1367 w 2252"/>
                <a:gd name="connsiteY16" fmla="*/ 331 h 1971"/>
                <a:gd name="connsiteX17" fmla="*/ 2235 w 2252"/>
                <a:gd name="connsiteY17" fmla="*/ 179 h 1971"/>
                <a:gd name="connsiteX18" fmla="*/ 2147 w 2252"/>
                <a:gd name="connsiteY18" fmla="*/ 4 h 1971"/>
                <a:gd name="connsiteX19" fmla="*/ 1491 w 2252"/>
                <a:gd name="connsiteY19" fmla="*/ 77 h 1971"/>
                <a:gd name="connsiteX20" fmla="*/ 1418 w 2252"/>
                <a:gd name="connsiteY20" fmla="*/ 128 h 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2" h="1972">
                  <a:moveTo>
                    <a:pt x="1418" y="128"/>
                  </a:moveTo>
                  <a:cubicBezTo>
                    <a:pt x="1333" y="195"/>
                    <a:pt x="1190" y="307"/>
                    <a:pt x="1068" y="412"/>
                  </a:cubicBezTo>
                  <a:cubicBezTo>
                    <a:pt x="946" y="517"/>
                    <a:pt x="904" y="540"/>
                    <a:pt x="806" y="652"/>
                  </a:cubicBezTo>
                  <a:cubicBezTo>
                    <a:pt x="708" y="764"/>
                    <a:pt x="646" y="863"/>
                    <a:pt x="580" y="972"/>
                  </a:cubicBezTo>
                  <a:cubicBezTo>
                    <a:pt x="514" y="1081"/>
                    <a:pt x="526" y="1121"/>
                    <a:pt x="478" y="1198"/>
                  </a:cubicBezTo>
                  <a:cubicBezTo>
                    <a:pt x="430" y="1275"/>
                    <a:pt x="419" y="1316"/>
                    <a:pt x="340" y="1358"/>
                  </a:cubicBezTo>
                  <a:cubicBezTo>
                    <a:pt x="261" y="1400"/>
                    <a:pt x="145" y="1380"/>
                    <a:pt x="85" y="1409"/>
                  </a:cubicBezTo>
                  <a:cubicBezTo>
                    <a:pt x="25" y="1438"/>
                    <a:pt x="58" y="1422"/>
                    <a:pt x="42" y="1504"/>
                  </a:cubicBezTo>
                  <a:cubicBezTo>
                    <a:pt x="26" y="1586"/>
                    <a:pt x="-14" y="1725"/>
                    <a:pt x="5" y="1817"/>
                  </a:cubicBezTo>
                  <a:cubicBezTo>
                    <a:pt x="24" y="1909"/>
                    <a:pt x="79" y="1944"/>
                    <a:pt x="136" y="1963"/>
                  </a:cubicBezTo>
                  <a:cubicBezTo>
                    <a:pt x="193" y="1982"/>
                    <a:pt x="238" y="1973"/>
                    <a:pt x="289" y="1912"/>
                  </a:cubicBezTo>
                  <a:cubicBezTo>
                    <a:pt x="340" y="1851"/>
                    <a:pt x="317" y="1787"/>
                    <a:pt x="391" y="1657"/>
                  </a:cubicBezTo>
                  <a:cubicBezTo>
                    <a:pt x="465" y="1527"/>
                    <a:pt x="574" y="1407"/>
                    <a:pt x="660" y="1263"/>
                  </a:cubicBezTo>
                  <a:cubicBezTo>
                    <a:pt x="746" y="1119"/>
                    <a:pt x="725" y="1045"/>
                    <a:pt x="821" y="936"/>
                  </a:cubicBezTo>
                  <a:cubicBezTo>
                    <a:pt x="917" y="827"/>
                    <a:pt x="1035" y="818"/>
                    <a:pt x="1141" y="717"/>
                  </a:cubicBezTo>
                  <a:cubicBezTo>
                    <a:pt x="1247" y="616"/>
                    <a:pt x="1307" y="510"/>
                    <a:pt x="1352" y="433"/>
                  </a:cubicBezTo>
                  <a:cubicBezTo>
                    <a:pt x="1397" y="356"/>
                    <a:pt x="1307" y="380"/>
                    <a:pt x="1367" y="331"/>
                  </a:cubicBezTo>
                  <a:cubicBezTo>
                    <a:pt x="1427" y="282"/>
                    <a:pt x="2175" y="233"/>
                    <a:pt x="2235" y="179"/>
                  </a:cubicBezTo>
                  <a:cubicBezTo>
                    <a:pt x="2296" y="125"/>
                    <a:pt x="2180" y="26"/>
                    <a:pt x="2147" y="4"/>
                  </a:cubicBezTo>
                  <a:cubicBezTo>
                    <a:pt x="2115" y="-18"/>
                    <a:pt x="1540" y="64"/>
                    <a:pt x="1491" y="77"/>
                  </a:cubicBezTo>
                  <a:cubicBezTo>
                    <a:pt x="1442" y="90"/>
                    <a:pt x="1503" y="61"/>
                    <a:pt x="1418" y="128"/>
                  </a:cubicBezTo>
                  <a:close/>
                </a:path>
              </a:pathLst>
            </a:custGeom>
            <a:solidFill>
              <a:schemeClr val="l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13"/>
              </p:custDataLst>
            </p:nvPr>
          </p:nvSpPr>
          <p:spPr>
            <a:xfrm>
              <a:off x="9896" y="7544"/>
              <a:ext cx="3510" cy="2488"/>
            </a:xfrm>
            <a:custGeom>
              <a:avLst/>
              <a:gdLst>
                <a:gd name="connsiteX0" fmla="*/ 0 w 3510"/>
                <a:gd name="connsiteY0" fmla="*/ 1525 h 2488"/>
                <a:gd name="connsiteX1" fmla="*/ 526 w 3510"/>
                <a:gd name="connsiteY1" fmla="*/ 1525 h 2488"/>
                <a:gd name="connsiteX2" fmla="*/ 1117 w 3510"/>
                <a:gd name="connsiteY2" fmla="*/ 1522 h 2488"/>
                <a:gd name="connsiteX3" fmla="*/ 1103 w 3510"/>
                <a:gd name="connsiteY3" fmla="*/ 1362 h 2488"/>
                <a:gd name="connsiteX4" fmla="*/ 1219 w 3510"/>
                <a:gd name="connsiteY4" fmla="*/ 1347 h 2488"/>
                <a:gd name="connsiteX5" fmla="*/ 1226 w 3510"/>
                <a:gd name="connsiteY5" fmla="*/ 1937 h 2488"/>
                <a:gd name="connsiteX6" fmla="*/ 1445 w 3510"/>
                <a:gd name="connsiteY6" fmla="*/ 1937 h 2488"/>
                <a:gd name="connsiteX7" fmla="*/ 1474 w 3510"/>
                <a:gd name="connsiteY7" fmla="*/ 1803 h 2488"/>
                <a:gd name="connsiteX8" fmla="*/ 1904 w 3510"/>
                <a:gd name="connsiteY8" fmla="*/ 881 h 2488"/>
                <a:gd name="connsiteX9" fmla="*/ 2668 w 3510"/>
                <a:gd name="connsiteY9" fmla="*/ 102 h 2488"/>
                <a:gd name="connsiteX10" fmla="*/ 3433 w 3510"/>
                <a:gd name="connsiteY10" fmla="*/ 0 h 2488"/>
                <a:gd name="connsiteX11" fmla="*/ 3510 w 3510"/>
                <a:gd name="connsiteY11" fmla="*/ 1525 h 2488"/>
                <a:gd name="connsiteX12" fmla="*/ 3510 w 3510"/>
                <a:gd name="connsiteY12" fmla="*/ 2488 h 2488"/>
                <a:gd name="connsiteX13" fmla="*/ 0 w 3510"/>
                <a:gd name="connsiteY13" fmla="*/ 2488 h 2488"/>
                <a:gd name="connsiteX14" fmla="*/ 0 w 3510"/>
                <a:gd name="connsiteY14" fmla="*/ 1525 h 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10" h="2488">
                  <a:moveTo>
                    <a:pt x="0" y="1525"/>
                  </a:moveTo>
                  <a:lnTo>
                    <a:pt x="526" y="1525"/>
                  </a:lnTo>
                  <a:lnTo>
                    <a:pt x="1117" y="1522"/>
                  </a:lnTo>
                  <a:lnTo>
                    <a:pt x="1103" y="1362"/>
                  </a:lnTo>
                  <a:lnTo>
                    <a:pt x="1219" y="1347"/>
                  </a:lnTo>
                  <a:lnTo>
                    <a:pt x="1226" y="1937"/>
                  </a:lnTo>
                  <a:lnTo>
                    <a:pt x="1445" y="1937"/>
                  </a:lnTo>
                  <a:lnTo>
                    <a:pt x="1474" y="1803"/>
                  </a:lnTo>
                  <a:lnTo>
                    <a:pt x="1904" y="881"/>
                  </a:lnTo>
                  <a:lnTo>
                    <a:pt x="2668" y="102"/>
                  </a:lnTo>
                  <a:lnTo>
                    <a:pt x="3433" y="0"/>
                  </a:lnTo>
                  <a:lnTo>
                    <a:pt x="3510" y="1525"/>
                  </a:lnTo>
                  <a:lnTo>
                    <a:pt x="3510" y="2488"/>
                  </a:lnTo>
                  <a:lnTo>
                    <a:pt x="0" y="2488"/>
                  </a:lnTo>
                  <a:lnTo>
                    <a:pt x="0" y="1525"/>
                  </a:lnTo>
                  <a:close/>
                </a:path>
              </a:pathLst>
            </a:custGeom>
            <a:pattFill prst="lgConfetti">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54" name="组合 53"/>
            <p:cNvGrpSpPr/>
            <p:nvPr/>
          </p:nvGrpSpPr>
          <p:grpSpPr>
            <a:xfrm>
              <a:off x="10220" y="8038"/>
              <a:ext cx="1841" cy="1384"/>
              <a:chOff x="10220" y="8038"/>
              <a:chExt cx="1841" cy="1384"/>
            </a:xfrm>
            <a:solidFill>
              <a:schemeClr val="bg2">
                <a:lumMod val="50000"/>
              </a:schemeClr>
            </a:solidFill>
          </p:grpSpPr>
          <p:sp>
            <p:nvSpPr>
              <p:cNvPr id="38" name="任意多边形 37"/>
              <p:cNvSpPr/>
              <p:nvPr>
                <p:custDataLst>
                  <p:tags r:id="rId14"/>
                </p:custDataLst>
              </p:nvPr>
            </p:nvSpPr>
            <p:spPr>
              <a:xfrm>
                <a:off x="11705" y="8038"/>
                <a:ext cx="357" cy="350"/>
              </a:xfrm>
              <a:custGeom>
                <a:avLst/>
                <a:gdLst>
                  <a:gd name="connisteX0" fmla="*/ 166370 w 226695"/>
                  <a:gd name="connsiteY0" fmla="*/ 83185 h 222250"/>
                  <a:gd name="connisteX1" fmla="*/ 64770 w 226695"/>
                  <a:gd name="connsiteY1" fmla="*/ 0 h 222250"/>
                  <a:gd name="connisteX2" fmla="*/ 18415 w 226695"/>
                  <a:gd name="connsiteY2" fmla="*/ 92710 h 222250"/>
                  <a:gd name="connisteX3" fmla="*/ 50800 w 226695"/>
                  <a:gd name="connsiteY3" fmla="*/ 120015 h 222250"/>
                  <a:gd name="connisteX4" fmla="*/ 0 w 226695"/>
                  <a:gd name="connsiteY4" fmla="*/ 175895 h 222250"/>
                  <a:gd name="connisteX5" fmla="*/ 46355 w 226695"/>
                  <a:gd name="connsiteY5" fmla="*/ 222250 h 222250"/>
                  <a:gd name="connisteX6" fmla="*/ 69215 w 226695"/>
                  <a:gd name="connsiteY6" fmla="*/ 180340 h 222250"/>
                  <a:gd name="connisteX7" fmla="*/ 143510 w 226695"/>
                  <a:gd name="connsiteY7" fmla="*/ 194310 h 222250"/>
                  <a:gd name="connisteX8" fmla="*/ 111125 w 226695"/>
                  <a:gd name="connsiteY8" fmla="*/ 157480 h 222250"/>
                  <a:gd name="connisteX9" fmla="*/ 226695 w 226695"/>
                  <a:gd name="connsiteY9" fmla="*/ 143510 h 222250"/>
                  <a:gd name="connisteX10" fmla="*/ 212725 w 226695"/>
                  <a:gd name="connsiteY10" fmla="*/ 64770 h 222250"/>
                  <a:gd name="connisteX11" fmla="*/ 166370 w 226695"/>
                  <a:gd name="connsiteY11" fmla="*/ 83185 h 222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226695" h="222250">
                    <a:moveTo>
                      <a:pt x="166370" y="83185"/>
                    </a:moveTo>
                    <a:lnTo>
                      <a:pt x="64770" y="0"/>
                    </a:lnTo>
                    <a:lnTo>
                      <a:pt x="18415" y="92710"/>
                    </a:lnTo>
                    <a:lnTo>
                      <a:pt x="50800" y="120015"/>
                    </a:lnTo>
                    <a:lnTo>
                      <a:pt x="0" y="175895"/>
                    </a:lnTo>
                    <a:lnTo>
                      <a:pt x="46355" y="222250"/>
                    </a:lnTo>
                    <a:lnTo>
                      <a:pt x="69215" y="180340"/>
                    </a:lnTo>
                    <a:lnTo>
                      <a:pt x="143510" y="194310"/>
                    </a:lnTo>
                    <a:lnTo>
                      <a:pt x="111125" y="157480"/>
                    </a:lnTo>
                    <a:lnTo>
                      <a:pt x="226695" y="143510"/>
                    </a:lnTo>
                    <a:lnTo>
                      <a:pt x="212725" y="64770"/>
                    </a:lnTo>
                    <a:lnTo>
                      <a:pt x="166370" y="831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任意多边形 38"/>
              <p:cNvSpPr/>
              <p:nvPr>
                <p:custDataLst>
                  <p:tags r:id="rId15"/>
                </p:custDataLst>
              </p:nvPr>
            </p:nvSpPr>
            <p:spPr>
              <a:xfrm>
                <a:off x="11348" y="8424"/>
                <a:ext cx="241" cy="320"/>
              </a:xfrm>
              <a:custGeom>
                <a:avLst/>
                <a:gdLst>
                  <a:gd name="connisteX0" fmla="*/ 46355 w 153035"/>
                  <a:gd name="connsiteY0" fmla="*/ 120015 h 203200"/>
                  <a:gd name="connisteX1" fmla="*/ 19050 w 153035"/>
                  <a:gd name="connsiteY1" fmla="*/ 0 h 203200"/>
                  <a:gd name="connisteX2" fmla="*/ 102235 w 153035"/>
                  <a:gd name="connsiteY2" fmla="*/ 36830 h 203200"/>
                  <a:gd name="connisteX3" fmla="*/ 97155 w 153035"/>
                  <a:gd name="connsiteY3" fmla="*/ 83185 h 203200"/>
                  <a:gd name="connisteX4" fmla="*/ 153035 w 153035"/>
                  <a:gd name="connsiteY4" fmla="*/ 111125 h 203200"/>
                  <a:gd name="connisteX5" fmla="*/ 134620 w 153035"/>
                  <a:gd name="connsiteY5" fmla="*/ 171450 h 203200"/>
                  <a:gd name="connisteX6" fmla="*/ 83820 w 153035"/>
                  <a:gd name="connsiteY6" fmla="*/ 203200 h 203200"/>
                  <a:gd name="connisteX7" fmla="*/ 0 w 153035"/>
                  <a:gd name="connsiteY7" fmla="*/ 175895 h 203200"/>
                  <a:gd name="connisteX8" fmla="*/ 46355 w 153035"/>
                  <a:gd name="connsiteY8" fmla="*/ 120015 h 2032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153035" h="203200">
                    <a:moveTo>
                      <a:pt x="46355" y="120015"/>
                    </a:moveTo>
                    <a:lnTo>
                      <a:pt x="19050" y="0"/>
                    </a:lnTo>
                    <a:lnTo>
                      <a:pt x="102235" y="36830"/>
                    </a:lnTo>
                    <a:lnTo>
                      <a:pt x="97155" y="83185"/>
                    </a:lnTo>
                    <a:lnTo>
                      <a:pt x="153035" y="111125"/>
                    </a:lnTo>
                    <a:lnTo>
                      <a:pt x="134620" y="171450"/>
                    </a:lnTo>
                    <a:lnTo>
                      <a:pt x="83820" y="203200"/>
                    </a:lnTo>
                    <a:lnTo>
                      <a:pt x="0" y="175895"/>
                    </a:lnTo>
                    <a:lnTo>
                      <a:pt x="46355" y="12001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任意多边形 39"/>
              <p:cNvSpPr/>
              <p:nvPr>
                <p:custDataLst>
                  <p:tags r:id="rId16"/>
                </p:custDataLst>
              </p:nvPr>
            </p:nvSpPr>
            <p:spPr>
              <a:xfrm>
                <a:off x="11254" y="9065"/>
                <a:ext cx="218" cy="145"/>
              </a:xfrm>
              <a:custGeom>
                <a:avLst/>
                <a:gdLst>
                  <a:gd name="connisteX0" fmla="*/ 83185 w 138430"/>
                  <a:gd name="connsiteY0" fmla="*/ 27940 h 92075"/>
                  <a:gd name="connisteX1" fmla="*/ 138430 w 138430"/>
                  <a:gd name="connsiteY1" fmla="*/ 0 h 92075"/>
                  <a:gd name="connisteX2" fmla="*/ 129540 w 138430"/>
                  <a:gd name="connsiteY2" fmla="*/ 50800 h 92075"/>
                  <a:gd name="connisteX3" fmla="*/ 55245 w 138430"/>
                  <a:gd name="connsiteY3" fmla="*/ 92075 h 92075"/>
                  <a:gd name="connisteX4" fmla="*/ 0 w 138430"/>
                  <a:gd name="connsiteY4" fmla="*/ 73660 h 92075"/>
                  <a:gd name="connisteX5" fmla="*/ 22860 w 138430"/>
                  <a:gd name="connsiteY5" fmla="*/ 27940 h 92075"/>
                  <a:gd name="connisteX6" fmla="*/ 83185 w 138430"/>
                  <a:gd name="connsiteY6" fmla="*/ 27940 h 920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38430" h="92075">
                    <a:moveTo>
                      <a:pt x="83185" y="27940"/>
                    </a:moveTo>
                    <a:lnTo>
                      <a:pt x="138430" y="0"/>
                    </a:lnTo>
                    <a:lnTo>
                      <a:pt x="129540" y="50800"/>
                    </a:lnTo>
                    <a:lnTo>
                      <a:pt x="55245" y="92075"/>
                    </a:lnTo>
                    <a:lnTo>
                      <a:pt x="0" y="73660"/>
                    </a:lnTo>
                    <a:lnTo>
                      <a:pt x="22860" y="27940"/>
                    </a:lnTo>
                    <a:lnTo>
                      <a:pt x="83185" y="2794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任意多边形 40"/>
              <p:cNvSpPr/>
              <p:nvPr>
                <p:custDataLst>
                  <p:tags r:id="rId17"/>
                </p:custDataLst>
              </p:nvPr>
            </p:nvSpPr>
            <p:spPr>
              <a:xfrm>
                <a:off x="11225" y="9320"/>
                <a:ext cx="174" cy="102"/>
              </a:xfrm>
              <a:custGeom>
                <a:avLst/>
                <a:gdLst>
                  <a:gd name="connisteX0" fmla="*/ 106045 w 110490"/>
                  <a:gd name="connsiteY0" fmla="*/ 64770 h 64770"/>
                  <a:gd name="connisteX1" fmla="*/ 0 w 110490"/>
                  <a:gd name="connsiteY1" fmla="*/ 46355 h 64770"/>
                  <a:gd name="connisteX2" fmla="*/ 55245 w 110490"/>
                  <a:gd name="connsiteY2" fmla="*/ 0 h 64770"/>
                  <a:gd name="connisteX3" fmla="*/ 73660 w 110490"/>
                  <a:gd name="connsiteY3" fmla="*/ 36830 h 64770"/>
                  <a:gd name="connisteX4" fmla="*/ 110490 w 110490"/>
                  <a:gd name="connsiteY4" fmla="*/ 22860 h 64770"/>
                  <a:gd name="connisteX5" fmla="*/ 106045 w 110490"/>
                  <a:gd name="connsiteY5" fmla="*/ 64770 h 647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110490" h="64770">
                    <a:moveTo>
                      <a:pt x="106045" y="64770"/>
                    </a:moveTo>
                    <a:lnTo>
                      <a:pt x="0" y="46355"/>
                    </a:lnTo>
                    <a:lnTo>
                      <a:pt x="55245" y="0"/>
                    </a:lnTo>
                    <a:lnTo>
                      <a:pt x="73660" y="36830"/>
                    </a:lnTo>
                    <a:lnTo>
                      <a:pt x="110490" y="22860"/>
                    </a:lnTo>
                    <a:lnTo>
                      <a:pt x="106045" y="6477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18"/>
                </p:custDataLst>
              </p:nvPr>
            </p:nvSpPr>
            <p:spPr>
              <a:xfrm>
                <a:off x="10766" y="8715"/>
                <a:ext cx="284" cy="379"/>
              </a:xfrm>
              <a:custGeom>
                <a:avLst/>
                <a:gdLst>
                  <a:gd name="connisteX0" fmla="*/ 120015 w 180340"/>
                  <a:gd name="connsiteY0" fmla="*/ 185420 h 240665"/>
                  <a:gd name="connisteX1" fmla="*/ 180340 w 180340"/>
                  <a:gd name="connsiteY1" fmla="*/ 46355 h 240665"/>
                  <a:gd name="connisteX2" fmla="*/ 87630 w 180340"/>
                  <a:gd name="connsiteY2" fmla="*/ 0 h 240665"/>
                  <a:gd name="connisteX3" fmla="*/ 13970 w 180340"/>
                  <a:gd name="connsiteY3" fmla="*/ 55880 h 240665"/>
                  <a:gd name="connisteX4" fmla="*/ 36830 w 180340"/>
                  <a:gd name="connsiteY4" fmla="*/ 139065 h 240665"/>
                  <a:gd name="connisteX5" fmla="*/ 0 w 180340"/>
                  <a:gd name="connsiteY5" fmla="*/ 203835 h 240665"/>
                  <a:gd name="connisteX6" fmla="*/ 83185 w 180340"/>
                  <a:gd name="connsiteY6" fmla="*/ 240665 h 240665"/>
                  <a:gd name="connisteX7" fmla="*/ 120015 w 180340"/>
                  <a:gd name="connsiteY7" fmla="*/ 185420 h 24066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80340" h="240665">
                    <a:moveTo>
                      <a:pt x="120015" y="185420"/>
                    </a:moveTo>
                    <a:lnTo>
                      <a:pt x="180340" y="46355"/>
                    </a:lnTo>
                    <a:lnTo>
                      <a:pt x="87630" y="0"/>
                    </a:lnTo>
                    <a:lnTo>
                      <a:pt x="13970" y="55880"/>
                    </a:lnTo>
                    <a:lnTo>
                      <a:pt x="36830" y="139065"/>
                    </a:lnTo>
                    <a:lnTo>
                      <a:pt x="0" y="203835"/>
                    </a:lnTo>
                    <a:lnTo>
                      <a:pt x="83185" y="240665"/>
                    </a:lnTo>
                    <a:lnTo>
                      <a:pt x="120015" y="18542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任意多边形 42"/>
              <p:cNvSpPr/>
              <p:nvPr>
                <p:custDataLst>
                  <p:tags r:id="rId19"/>
                </p:custDataLst>
              </p:nvPr>
            </p:nvSpPr>
            <p:spPr>
              <a:xfrm>
                <a:off x="10220" y="8985"/>
                <a:ext cx="255" cy="153"/>
              </a:xfrm>
              <a:custGeom>
                <a:avLst/>
                <a:gdLst>
                  <a:gd name="connisteX0" fmla="*/ 0 w 161925"/>
                  <a:gd name="connsiteY0" fmla="*/ 55245 h 97155"/>
                  <a:gd name="connisteX1" fmla="*/ 18415 w 161925"/>
                  <a:gd name="connsiteY1" fmla="*/ 13970 h 97155"/>
                  <a:gd name="connisteX2" fmla="*/ 101600 w 161925"/>
                  <a:gd name="connsiteY2" fmla="*/ 32385 h 97155"/>
                  <a:gd name="connisteX3" fmla="*/ 161925 w 161925"/>
                  <a:gd name="connsiteY3" fmla="*/ 0 h 97155"/>
                  <a:gd name="connisteX4" fmla="*/ 161925 w 161925"/>
                  <a:gd name="connsiteY4" fmla="*/ 64770 h 97155"/>
                  <a:gd name="connisteX5" fmla="*/ 55245 w 161925"/>
                  <a:gd name="connsiteY5" fmla="*/ 64770 h 97155"/>
                  <a:gd name="connisteX6" fmla="*/ 32385 w 161925"/>
                  <a:gd name="connsiteY6" fmla="*/ 97155 h 97155"/>
                  <a:gd name="connisteX7" fmla="*/ 0 w 161925"/>
                  <a:gd name="connsiteY7" fmla="*/ 55245 h 9715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61925" h="97155">
                    <a:moveTo>
                      <a:pt x="0" y="55245"/>
                    </a:moveTo>
                    <a:lnTo>
                      <a:pt x="18415" y="13970"/>
                    </a:lnTo>
                    <a:lnTo>
                      <a:pt x="101600" y="32385"/>
                    </a:lnTo>
                    <a:lnTo>
                      <a:pt x="161925" y="0"/>
                    </a:lnTo>
                    <a:lnTo>
                      <a:pt x="161925" y="64770"/>
                    </a:lnTo>
                    <a:lnTo>
                      <a:pt x="55245" y="64770"/>
                    </a:lnTo>
                    <a:lnTo>
                      <a:pt x="32385" y="97155"/>
                    </a:lnTo>
                    <a:lnTo>
                      <a:pt x="0" y="5524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20"/>
                </p:custDataLst>
              </p:nvPr>
            </p:nvSpPr>
            <p:spPr>
              <a:xfrm>
                <a:off x="10584" y="8941"/>
                <a:ext cx="131" cy="197"/>
              </a:xfrm>
              <a:custGeom>
                <a:avLst/>
                <a:gdLst>
                  <a:gd name="connisteX0" fmla="*/ 0 w 83185"/>
                  <a:gd name="connsiteY0" fmla="*/ 32385 h 125095"/>
                  <a:gd name="connisteX1" fmla="*/ 46355 w 83185"/>
                  <a:gd name="connsiteY1" fmla="*/ 0 h 125095"/>
                  <a:gd name="connisteX2" fmla="*/ 78740 w 83185"/>
                  <a:gd name="connsiteY2" fmla="*/ 41910 h 125095"/>
                  <a:gd name="connisteX3" fmla="*/ 83185 w 83185"/>
                  <a:gd name="connsiteY3" fmla="*/ 97155 h 125095"/>
                  <a:gd name="connisteX4" fmla="*/ 27940 w 83185"/>
                  <a:gd name="connsiteY4" fmla="*/ 125095 h 125095"/>
                  <a:gd name="connisteX5" fmla="*/ 4445 w 83185"/>
                  <a:gd name="connsiteY5" fmla="*/ 83185 h 125095"/>
                  <a:gd name="connisteX6" fmla="*/ 0 w 83185"/>
                  <a:gd name="connsiteY6" fmla="*/ 32385 h 12509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83185" h="125095">
                    <a:moveTo>
                      <a:pt x="0" y="32385"/>
                    </a:moveTo>
                    <a:lnTo>
                      <a:pt x="46355" y="0"/>
                    </a:lnTo>
                    <a:lnTo>
                      <a:pt x="78740" y="41910"/>
                    </a:lnTo>
                    <a:lnTo>
                      <a:pt x="83185" y="97155"/>
                    </a:lnTo>
                    <a:lnTo>
                      <a:pt x="27940" y="125095"/>
                    </a:lnTo>
                    <a:lnTo>
                      <a:pt x="4445" y="83185"/>
                    </a:lnTo>
                    <a:lnTo>
                      <a:pt x="0" y="323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Tree>
    <p:custDataLst>
      <p:tags r:id="rId21"/>
    </p:custDataLst>
  </p:cSld>
  <p:clrMapOvr>
    <a:masterClrMapping/>
  </p:clrMapOvr>
  <p:transition spd="slow">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246245"/>
          </a:xfrm>
          <a:prstGeom prst="rect">
            <a:avLst/>
          </a:prstGeom>
          <a:noFill/>
        </p:spPr>
        <p:txBody>
          <a:bodyPr wrap="square" rtlCol="0">
            <a:spAutoFit/>
          </a:bodyPr>
          <a:lstStyle/>
          <a:p>
            <a:pPr>
              <a:lnSpc>
                <a:spcPct val="150000"/>
              </a:lnSpc>
            </a:pPr>
            <a:r>
              <a:rPr sz="2000">
                <a:solidFill>
                  <a:schemeClr val="dk1"/>
                </a:solidFill>
              </a:rPr>
              <a:t>（1）泥石流正确的逃逸方法。泥石流不同于滑坡、山崩和地震，它是流动的，冲击和搬运能力很大，所以，当处于泥石流区时，不能沿沟向下或向上跑，而应向两侧山坡上跑，离开沟道、河谷地带，但注意不要在土质松软、土体不稳定的斜坡停留，以免斜坡失稳下滑，应在基底稳固又较为平缓的地方。另外，不应上树躲避，因泥石流不同于一般洪水，其流动中可沿途切除一切障碍，所以上树逃生不可取。应避开河(沟)道弯曲的凹岸或地方狭小高度又低的凸岸，因泥石流有很强的掏刷能力及直进性，这些地方很危险。</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泥石流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组合 38"/>
          <p:cNvGrpSpPr/>
          <p:nvPr/>
        </p:nvGrpSpPr>
        <p:grpSpPr>
          <a:xfrm>
            <a:off x="6327775" y="2449830"/>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40" name="矩形 39"/>
            <p:cNvSpPr/>
            <p:nvPr>
              <p:custDataLst>
                <p:tags r:id="rId1"/>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矩形 40"/>
            <p:cNvSpPr/>
            <p:nvPr>
              <p:custDataLst>
                <p:tags r:id="rId2"/>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矩形 41"/>
            <p:cNvSpPr/>
            <p:nvPr>
              <p:custDataLst>
                <p:tags r:id="rId3"/>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矩形 42"/>
            <p:cNvSpPr/>
            <p:nvPr>
              <p:custDataLst>
                <p:tags r:id="rId4"/>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4" name="组合 43"/>
          <p:cNvGrpSpPr/>
          <p:nvPr/>
        </p:nvGrpSpPr>
        <p:grpSpPr>
          <a:xfrm>
            <a:off x="6327775" y="310451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45" name="矩形 44"/>
            <p:cNvSpPr/>
            <p:nvPr>
              <p:custDataLst>
                <p:tags r:id="rId5"/>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6" name="矩形 45"/>
            <p:cNvSpPr/>
            <p:nvPr>
              <p:custDataLst>
                <p:tags r:id="rId6"/>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7" name="矩形 46"/>
            <p:cNvSpPr/>
            <p:nvPr>
              <p:custDataLst>
                <p:tags r:id="rId7"/>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矩形 47"/>
            <p:cNvSpPr/>
            <p:nvPr>
              <p:custDataLst>
                <p:tags r:id="rId8"/>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9" name="组合 48"/>
          <p:cNvGrpSpPr/>
          <p:nvPr/>
        </p:nvGrpSpPr>
        <p:grpSpPr>
          <a:xfrm>
            <a:off x="6327775" y="3759200"/>
            <a:ext cx="3759835" cy="581660"/>
            <a:chOff x="2115" y="2827"/>
            <a:chExt cx="6916" cy="1134"/>
          </a:xfrm>
          <a:solidFill>
            <a:srgbClr val="FFC000"/>
          </a:solidFill>
          <a:effectLst>
            <a:outerShdw blurRad="50800" dist="38100" dir="18900000" algn="bl" rotWithShape="0">
              <a:prstClr val="black">
                <a:alpha val="40000"/>
              </a:prstClr>
            </a:outerShdw>
          </a:effectLst>
        </p:grpSpPr>
        <p:sp>
          <p:nvSpPr>
            <p:cNvPr id="50" name="矩形 49"/>
            <p:cNvSpPr/>
            <p:nvPr>
              <p:custDataLst>
                <p:tags r:id="rId9"/>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矩形 50"/>
            <p:cNvSpPr/>
            <p:nvPr>
              <p:custDataLst>
                <p:tags r:id="rId10"/>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2" name="矩形 51"/>
            <p:cNvSpPr/>
            <p:nvPr>
              <p:custDataLst>
                <p:tags r:id="rId11"/>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3" name="矩形 52"/>
            <p:cNvSpPr/>
            <p:nvPr>
              <p:custDataLst>
                <p:tags r:id="rId12"/>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9" name="组合 58"/>
          <p:cNvGrpSpPr/>
          <p:nvPr/>
        </p:nvGrpSpPr>
        <p:grpSpPr>
          <a:xfrm>
            <a:off x="6328410" y="179514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60" name="矩形 59"/>
            <p:cNvSpPr/>
            <p:nvPr>
              <p:custDataLst>
                <p:tags r:id="rId13"/>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矩形 60"/>
            <p:cNvSpPr/>
            <p:nvPr>
              <p:custDataLst>
                <p:tags r:id="rId14"/>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矩形 61"/>
            <p:cNvSpPr/>
            <p:nvPr>
              <p:custDataLst>
                <p:tags r:id="rId15"/>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3" name="矩形 62"/>
            <p:cNvSpPr/>
            <p:nvPr>
              <p:custDataLst>
                <p:tags r:id="rId16"/>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9" name="组合 18"/>
          <p:cNvGrpSpPr/>
          <p:nvPr/>
        </p:nvGrpSpPr>
        <p:grpSpPr>
          <a:xfrm>
            <a:off x="2417445" y="2449830"/>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20" name="矩形 19"/>
            <p:cNvSpPr/>
            <p:nvPr>
              <p:custDataLst>
                <p:tags r:id="rId17"/>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矩形 20"/>
            <p:cNvSpPr/>
            <p:nvPr>
              <p:custDataLst>
                <p:tags r:id="rId18"/>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矩形 21"/>
            <p:cNvSpPr/>
            <p:nvPr>
              <p:custDataLst>
                <p:tags r:id="rId19"/>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矩形 22"/>
            <p:cNvSpPr/>
            <p:nvPr>
              <p:custDataLst>
                <p:tags r:id="rId20"/>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4" name="组合 23"/>
          <p:cNvGrpSpPr/>
          <p:nvPr/>
        </p:nvGrpSpPr>
        <p:grpSpPr>
          <a:xfrm>
            <a:off x="2417445" y="310451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25" name="矩形 24"/>
            <p:cNvSpPr/>
            <p:nvPr>
              <p:custDataLst>
                <p:tags r:id="rId21"/>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矩形 25"/>
            <p:cNvSpPr/>
            <p:nvPr>
              <p:custDataLst>
                <p:tags r:id="rId22"/>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矩形 26"/>
            <p:cNvSpPr/>
            <p:nvPr>
              <p:custDataLst>
                <p:tags r:id="rId23"/>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矩形 27"/>
            <p:cNvSpPr/>
            <p:nvPr>
              <p:custDataLst>
                <p:tags r:id="rId24"/>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9" name="组合 28"/>
          <p:cNvGrpSpPr/>
          <p:nvPr/>
        </p:nvGrpSpPr>
        <p:grpSpPr>
          <a:xfrm>
            <a:off x="2417445" y="3759200"/>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30" name="矩形 29"/>
            <p:cNvSpPr/>
            <p:nvPr>
              <p:custDataLst>
                <p:tags r:id="rId25"/>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矩形 30"/>
            <p:cNvSpPr/>
            <p:nvPr>
              <p:custDataLst>
                <p:tags r:id="rId26"/>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矩形 31"/>
            <p:cNvSpPr/>
            <p:nvPr>
              <p:custDataLst>
                <p:tags r:id="rId27"/>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矩形 32"/>
            <p:cNvSpPr/>
            <p:nvPr>
              <p:custDataLst>
                <p:tags r:id="rId28"/>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4" name="组合 33"/>
          <p:cNvGrpSpPr/>
          <p:nvPr/>
        </p:nvGrpSpPr>
        <p:grpSpPr>
          <a:xfrm>
            <a:off x="2417445" y="441388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35" name="矩形 34"/>
            <p:cNvSpPr/>
            <p:nvPr>
              <p:custDataLst>
                <p:tags r:id="rId29"/>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矩形 35"/>
            <p:cNvSpPr/>
            <p:nvPr>
              <p:custDataLst>
                <p:tags r:id="rId30"/>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矩形 36"/>
            <p:cNvSpPr/>
            <p:nvPr>
              <p:custDataLst>
                <p:tags r:id="rId31"/>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8" name="矩形 37"/>
            <p:cNvSpPr/>
            <p:nvPr>
              <p:custDataLst>
                <p:tags r:id="rId32"/>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6" name="组合 15"/>
          <p:cNvGrpSpPr/>
          <p:nvPr/>
        </p:nvGrpSpPr>
        <p:grpSpPr>
          <a:xfrm>
            <a:off x="2418080" y="1795145"/>
            <a:ext cx="2522220" cy="581660"/>
            <a:chOff x="2115" y="2827"/>
            <a:chExt cx="6916" cy="1134"/>
          </a:xfrm>
          <a:solidFill>
            <a:srgbClr val="FFC000"/>
          </a:solidFill>
          <a:effectLst>
            <a:outerShdw blurRad="50800" dist="38100" dir="18900000" algn="bl" rotWithShape="0">
              <a:prstClr val="black">
                <a:alpha val="40000"/>
              </a:prstClr>
            </a:outerShdw>
          </a:effectLst>
        </p:grpSpPr>
        <p:sp>
          <p:nvSpPr>
            <p:cNvPr id="14" name="矩形 13"/>
            <p:cNvSpPr/>
            <p:nvPr>
              <p:custDataLst>
                <p:tags r:id="rId33"/>
              </p:custDataLst>
            </p:nvPr>
          </p:nvSpPr>
          <p:spPr>
            <a:xfrm>
              <a:off x="2115" y="2827"/>
              <a:ext cx="5669"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矩形 14"/>
            <p:cNvSpPr/>
            <p:nvPr>
              <p:custDataLst>
                <p:tags r:id="rId34"/>
              </p:custDataLst>
            </p:nvPr>
          </p:nvSpPr>
          <p:spPr>
            <a:xfrm>
              <a:off x="7917"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7" name="矩形 16"/>
            <p:cNvSpPr/>
            <p:nvPr>
              <p:custDataLst>
                <p:tags r:id="rId35"/>
              </p:custDataLst>
            </p:nvPr>
          </p:nvSpPr>
          <p:spPr>
            <a:xfrm>
              <a:off x="8333"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矩形 17"/>
            <p:cNvSpPr/>
            <p:nvPr>
              <p:custDataLst>
                <p:tags r:id="rId36"/>
              </p:custDataLst>
            </p:nvPr>
          </p:nvSpPr>
          <p:spPr>
            <a:xfrm>
              <a:off x="8749" y="2827"/>
              <a:ext cx="283" cy="113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7" name="文本框 6"/>
          <p:cNvSpPr txBox="1"/>
          <p:nvPr>
            <p:custDataLst>
              <p:tags r:id="rId37"/>
            </p:custDataLst>
          </p:nvPr>
        </p:nvSpPr>
        <p:spPr>
          <a:xfrm>
            <a:off x="2576830" y="1672590"/>
            <a:ext cx="2880360" cy="3322955"/>
          </a:xfrm>
          <a:prstGeom prst="rect">
            <a:avLst/>
          </a:prstGeom>
          <a:noFill/>
        </p:spPr>
        <p:txBody>
          <a:bodyPr wrap="square" rtlCol="0">
            <a:spAutoFit/>
          </a:bodyPr>
          <a:lstStyle/>
          <a:p>
            <a:pPr>
              <a:lnSpc>
                <a:spcPct val="150000"/>
              </a:lnSpc>
            </a:pPr>
            <a:r>
              <a:rPr lang="zh-CN" altLang="en-US" sz="2800" b="1">
                <a:solidFill>
                  <a:schemeClr val="dk1">
                    <a:lumMod val="85000"/>
                    <a:lumOff val="15000"/>
                  </a:schemeClr>
                </a:solidFill>
              </a:rPr>
              <a:t>台风</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洪涝</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地震</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雷电天气</a:t>
            </a: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rPr>
              <a:t>大雾天气</a:t>
            </a:r>
            <a:endParaRPr lang="zh-CN" altLang="en-US" sz="2800" b="1">
              <a:solidFill>
                <a:schemeClr val="dk1">
                  <a:lumMod val="85000"/>
                  <a:lumOff val="15000"/>
                </a:schemeClr>
              </a:solidFill>
            </a:endParaRPr>
          </a:p>
        </p:txBody>
      </p:sp>
      <p:sp>
        <p:nvSpPr>
          <p:cNvPr id="8" name="文本框 7"/>
          <p:cNvSpPr txBox="1"/>
          <p:nvPr>
            <p:custDataLst>
              <p:tags r:id="rId38"/>
            </p:custDataLst>
          </p:nvPr>
        </p:nvSpPr>
        <p:spPr>
          <a:xfrm>
            <a:off x="6513830" y="1672590"/>
            <a:ext cx="3255010" cy="3107690"/>
          </a:xfrm>
          <a:prstGeom prst="rect">
            <a:avLst/>
          </a:prstGeom>
          <a:noFill/>
        </p:spPr>
        <p:txBody>
          <a:bodyPr wrap="square" rtlCol="0">
            <a:spAutoFit/>
          </a:bodyPr>
          <a:lstStyle/>
          <a:p>
            <a:pPr>
              <a:lnSpc>
                <a:spcPct val="150000"/>
              </a:lnSpc>
            </a:pPr>
            <a:r>
              <a:rPr lang="zh-CN" altLang="en-US" sz="2800" b="1">
                <a:solidFill>
                  <a:schemeClr val="dk1">
                    <a:lumMod val="85000"/>
                    <a:lumOff val="15000"/>
                  </a:schemeClr>
                </a:solidFill>
                <a:sym typeface="+mn-ea"/>
              </a:rPr>
              <a:t>龙卷风</a:t>
            </a:r>
            <a:endParaRPr lang="zh-CN" altLang="en-US" sz="2800" b="1">
              <a:solidFill>
                <a:schemeClr val="dk1">
                  <a:lumMod val="85000"/>
                  <a:lumOff val="15000"/>
                </a:schemeClr>
              </a:solidFill>
              <a:sym typeface="+mn-ea"/>
            </a:endParaRPr>
          </a:p>
          <a:p>
            <a:pPr>
              <a:lnSpc>
                <a:spcPct val="150000"/>
              </a:lnSpc>
            </a:pP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sym typeface="+mn-ea"/>
              </a:rPr>
              <a:t>泥石流</a:t>
            </a:r>
            <a:endParaRPr lang="zh-CN" altLang="en-US" sz="2800" b="1">
              <a:solidFill>
                <a:schemeClr val="dk1">
                  <a:lumMod val="85000"/>
                  <a:lumOff val="15000"/>
                </a:schemeClr>
              </a:solidFill>
              <a:sym typeface="+mn-ea"/>
            </a:endParaRPr>
          </a:p>
          <a:p>
            <a:pPr>
              <a:lnSpc>
                <a:spcPct val="150000"/>
              </a:lnSpc>
            </a:pP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sym typeface="+mn-ea"/>
              </a:rPr>
              <a:t>火灾</a:t>
            </a:r>
            <a:endParaRPr lang="zh-CN" altLang="en-US" sz="2800" b="1">
              <a:solidFill>
                <a:schemeClr val="dk1">
                  <a:lumMod val="85000"/>
                  <a:lumOff val="15000"/>
                </a:schemeClr>
              </a:solidFill>
              <a:sym typeface="+mn-ea"/>
            </a:endParaRPr>
          </a:p>
          <a:p>
            <a:pPr>
              <a:lnSpc>
                <a:spcPct val="150000"/>
              </a:lnSpc>
            </a:pPr>
            <a:endParaRPr lang="zh-CN" altLang="en-US" sz="2800" b="1">
              <a:solidFill>
                <a:schemeClr val="dk1">
                  <a:lumMod val="85000"/>
                  <a:lumOff val="15000"/>
                </a:schemeClr>
              </a:solidFill>
            </a:endParaRPr>
          </a:p>
          <a:p>
            <a:pPr>
              <a:lnSpc>
                <a:spcPct val="150000"/>
              </a:lnSpc>
            </a:pPr>
            <a:r>
              <a:rPr lang="zh-CN" altLang="en-US" sz="2800" b="1">
                <a:solidFill>
                  <a:schemeClr val="dk1">
                    <a:lumMod val="85000"/>
                    <a:lumOff val="15000"/>
                  </a:schemeClr>
                </a:solidFill>
                <a:sym typeface="+mn-ea"/>
              </a:rPr>
              <a:t>附:遇险求救方法</a:t>
            </a:r>
            <a:endParaRPr lang="zh-CN" altLang="en-US" sz="2800" b="1">
              <a:solidFill>
                <a:schemeClr val="dk1">
                  <a:lumMod val="85000"/>
                  <a:lumOff val="15000"/>
                </a:schemeClr>
              </a:solidFill>
            </a:endParaRPr>
          </a:p>
          <a:p>
            <a:endParaRPr lang="zh-CN" altLang="en-US" sz="2800" b="1">
              <a:solidFill>
                <a:schemeClr val="dk1">
                  <a:lumMod val="85000"/>
                  <a:lumOff val="15000"/>
                </a:schemeClr>
              </a:solidFill>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39"/>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40"/>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41"/>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2"/>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43"/>
    </p:custData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4707890"/>
          </a:xfrm>
          <a:prstGeom prst="rect">
            <a:avLst/>
          </a:prstGeom>
          <a:noFill/>
        </p:spPr>
        <p:txBody>
          <a:bodyPr wrap="square" rtlCol="0">
            <a:spAutoFit/>
          </a:bodyPr>
          <a:lstStyle/>
          <a:p>
            <a:pPr>
              <a:lnSpc>
                <a:spcPct val="150000"/>
              </a:lnSpc>
            </a:pPr>
            <a:r>
              <a:rPr sz="2000">
                <a:solidFill>
                  <a:schemeClr val="dk1"/>
                </a:solidFill>
              </a:rPr>
              <a:t>（2）泥石流过后的自救与防疫工作</a:t>
            </a:r>
            <a:endParaRPr sz="2000">
              <a:solidFill>
                <a:schemeClr val="dk1"/>
              </a:solidFill>
            </a:endParaRPr>
          </a:p>
          <a:p>
            <a:pPr>
              <a:lnSpc>
                <a:spcPct val="150000"/>
              </a:lnSpc>
            </a:pPr>
            <a:r>
              <a:rPr sz="2000">
                <a:solidFill>
                  <a:schemeClr val="dk1"/>
                </a:solidFill>
              </a:rPr>
              <a:t>当工矿、村镇、游客遭到泥石流袭击，并出现严重灾情后，应立即组织人员进行伤员抢救，以及水、电、交通线路的抢修，以保障救灾工作顺利进行，伤员得到及时救治。河(沟)经泥石流的洗劫之后，面目皆非，百孔千疮，不仅原河(沟)床被冲淤得难以辨认，穿越或沿河(沟)谷的道路也被掩埋破坏得无影无踪，沿途漂砾、泥沙满沟，行走时极容易造成跌伤、嗑碰，因此进行救灾抢检时应注意避免发生各种外伤。泥石流发生时常席卷、淹浸、淤埋沿途的房屋、牲畜及杂、污物，泥石流结束之后应对必要的地段进行清理消毒或远离弃之之守，避免与防止流行病的发生和传播，做好卫生防疫工作。</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泥石流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火灾</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6709410" cy="2861310"/>
          </a:xfrm>
          <a:prstGeom prst="rect">
            <a:avLst/>
          </a:prstGeom>
          <a:noFill/>
        </p:spPr>
        <p:txBody>
          <a:bodyPr wrap="square" rtlCol="0">
            <a:spAutoFit/>
          </a:bodyPr>
          <a:lstStyle/>
          <a:p>
            <a:pPr>
              <a:lnSpc>
                <a:spcPct val="150000"/>
              </a:lnSpc>
            </a:pPr>
            <a:r>
              <a:rPr sz="2000">
                <a:solidFill>
                  <a:schemeClr val="dk1"/>
                </a:solidFill>
              </a:rPr>
              <a:t>火魔无情，当你被困在火场内生命受到威胁时，在等待消防员救助的时间里，如果你能够利用地形和身边的物体采取积极有效的自救措施，就可以让自己命运由“被动”转化为“主动”，为生命赢得更多的“生机”。火场逃生不能寄希望于“急中生智”，只有靠平时对消防常识的学习、掌握和储备，危难关头才能应对自如，从容逃离险境。</a:t>
            </a:r>
            <a:endParaRPr sz="2000">
              <a:solidFill>
                <a:schemeClr val="dk1"/>
              </a:solidFill>
            </a:endParaRPr>
          </a:p>
        </p:txBody>
      </p:sp>
      <p:grpSp>
        <p:nvGrpSpPr>
          <p:cNvPr id="82" name="组合 81"/>
          <p:cNvGrpSpPr/>
          <p:nvPr/>
        </p:nvGrpSpPr>
        <p:grpSpPr>
          <a:xfrm>
            <a:off x="7447280" y="2654935"/>
            <a:ext cx="3150235" cy="3274695"/>
            <a:chOff x="11728" y="4181"/>
            <a:chExt cx="4961" cy="5157"/>
          </a:xfrm>
          <a:solidFill>
            <a:schemeClr val="tx2">
              <a:lumMod val="60000"/>
              <a:lumOff val="40000"/>
            </a:schemeClr>
          </a:solidFill>
        </p:grpSpPr>
        <p:sp>
          <p:nvSpPr>
            <p:cNvPr id="3" name="矩形 2"/>
            <p:cNvSpPr/>
            <p:nvPr>
              <p:custDataLst>
                <p:tags r:id="rId12"/>
              </p:custDataLst>
            </p:nvPr>
          </p:nvSpPr>
          <p:spPr>
            <a:xfrm>
              <a:off x="14549" y="4181"/>
              <a:ext cx="1829" cy="5116"/>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 name="矩形 4"/>
            <p:cNvSpPr/>
            <p:nvPr>
              <p:custDataLst>
                <p:tags r:id="rId13"/>
              </p:custDataLst>
            </p:nvPr>
          </p:nvSpPr>
          <p:spPr>
            <a:xfrm>
              <a:off x="13269" y="6194"/>
              <a:ext cx="1829" cy="3144"/>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7" name="组合 26"/>
            <p:cNvGrpSpPr/>
            <p:nvPr/>
          </p:nvGrpSpPr>
          <p:grpSpPr>
            <a:xfrm>
              <a:off x="13557" y="6554"/>
              <a:ext cx="1252" cy="452"/>
              <a:chOff x="14837" y="4428"/>
              <a:chExt cx="1252" cy="452"/>
            </a:xfrm>
            <a:grpFill/>
          </p:grpSpPr>
          <p:sp>
            <p:nvSpPr>
              <p:cNvPr id="28" name="矩形 27"/>
              <p:cNvSpPr/>
              <p:nvPr>
                <p:custDataLst>
                  <p:tags r:id="rId1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矩形 29"/>
              <p:cNvSpPr/>
              <p:nvPr>
                <p:custDataLst>
                  <p:tags r:id="rId1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1" name="组合 30"/>
            <p:cNvGrpSpPr/>
            <p:nvPr/>
          </p:nvGrpSpPr>
          <p:grpSpPr>
            <a:xfrm>
              <a:off x="13557" y="7069"/>
              <a:ext cx="1252" cy="452"/>
              <a:chOff x="14837" y="4428"/>
              <a:chExt cx="1252" cy="452"/>
            </a:xfrm>
            <a:grpFill/>
          </p:grpSpPr>
          <p:sp>
            <p:nvSpPr>
              <p:cNvPr id="32" name="矩形 31"/>
              <p:cNvSpPr/>
              <p:nvPr>
                <p:custDataLst>
                  <p:tags r:id="rId16"/>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矩形 32"/>
              <p:cNvSpPr/>
              <p:nvPr>
                <p:custDataLst>
                  <p:tags r:id="rId17"/>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2" name="组合 51"/>
            <p:cNvGrpSpPr/>
            <p:nvPr/>
          </p:nvGrpSpPr>
          <p:grpSpPr>
            <a:xfrm>
              <a:off x="15437" y="4428"/>
              <a:ext cx="1252" cy="4637"/>
              <a:chOff x="15437" y="4428"/>
              <a:chExt cx="1252" cy="4637"/>
            </a:xfrm>
            <a:grpFill/>
          </p:grpSpPr>
          <p:grpSp>
            <p:nvGrpSpPr>
              <p:cNvPr id="15" name="组合 14"/>
              <p:cNvGrpSpPr/>
              <p:nvPr/>
            </p:nvGrpSpPr>
            <p:grpSpPr>
              <a:xfrm>
                <a:off x="15437" y="4428"/>
                <a:ext cx="1252" cy="452"/>
                <a:chOff x="14837" y="4428"/>
                <a:chExt cx="1252" cy="452"/>
              </a:xfrm>
              <a:grpFill/>
            </p:grpSpPr>
            <p:sp>
              <p:nvSpPr>
                <p:cNvPr id="8" name="矩形 7"/>
                <p:cNvSpPr/>
                <p:nvPr>
                  <p:custDataLst>
                    <p:tags r:id="rId18"/>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矩形 13"/>
                <p:cNvSpPr/>
                <p:nvPr>
                  <p:custDataLst>
                    <p:tags r:id="rId19"/>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6" name="组合 15"/>
              <p:cNvGrpSpPr/>
              <p:nvPr/>
            </p:nvGrpSpPr>
            <p:grpSpPr>
              <a:xfrm>
                <a:off x="15437" y="5265"/>
                <a:ext cx="1252" cy="452"/>
                <a:chOff x="14837" y="4428"/>
                <a:chExt cx="1252" cy="452"/>
              </a:xfrm>
              <a:grpFill/>
            </p:grpSpPr>
            <p:sp>
              <p:nvSpPr>
                <p:cNvPr id="22" name="矩形 21"/>
                <p:cNvSpPr/>
                <p:nvPr>
                  <p:custDataLst>
                    <p:tags r:id="rId20"/>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矩形 22"/>
                <p:cNvSpPr/>
                <p:nvPr>
                  <p:custDataLst>
                    <p:tags r:id="rId21"/>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4" name="组合 23"/>
              <p:cNvGrpSpPr/>
              <p:nvPr/>
            </p:nvGrpSpPr>
            <p:grpSpPr>
              <a:xfrm>
                <a:off x="15437" y="6102"/>
                <a:ext cx="1252" cy="452"/>
                <a:chOff x="14837" y="4428"/>
                <a:chExt cx="1252" cy="452"/>
              </a:xfrm>
              <a:grpFill/>
            </p:grpSpPr>
            <p:sp>
              <p:nvSpPr>
                <p:cNvPr id="25" name="矩形 24"/>
                <p:cNvSpPr/>
                <p:nvPr>
                  <p:custDataLst>
                    <p:tags r:id="rId22"/>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矩形 25"/>
                <p:cNvSpPr/>
                <p:nvPr>
                  <p:custDataLst>
                    <p:tags r:id="rId23"/>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34" name="组合 33"/>
              <p:cNvGrpSpPr/>
              <p:nvPr/>
            </p:nvGrpSpPr>
            <p:grpSpPr>
              <a:xfrm>
                <a:off x="15437" y="6939"/>
                <a:ext cx="1252" cy="452"/>
                <a:chOff x="14837" y="4428"/>
                <a:chExt cx="1252" cy="452"/>
              </a:xfrm>
              <a:grpFill/>
            </p:grpSpPr>
            <p:sp>
              <p:nvSpPr>
                <p:cNvPr id="35" name="矩形 34"/>
                <p:cNvSpPr/>
                <p:nvPr>
                  <p:custDataLst>
                    <p:tags r:id="rId2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6" name="矩形 35"/>
                <p:cNvSpPr/>
                <p:nvPr>
                  <p:custDataLst>
                    <p:tags r:id="rId2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5" name="组合 44"/>
              <p:cNvGrpSpPr/>
              <p:nvPr/>
            </p:nvGrpSpPr>
            <p:grpSpPr>
              <a:xfrm>
                <a:off x="15437" y="7776"/>
                <a:ext cx="1252" cy="452"/>
                <a:chOff x="14837" y="4428"/>
                <a:chExt cx="1252" cy="452"/>
              </a:xfrm>
              <a:grpFill/>
            </p:grpSpPr>
            <p:sp>
              <p:nvSpPr>
                <p:cNvPr id="47" name="矩形 46"/>
                <p:cNvSpPr/>
                <p:nvPr>
                  <p:custDataLst>
                    <p:tags r:id="rId26"/>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矩形 47"/>
                <p:cNvSpPr/>
                <p:nvPr>
                  <p:custDataLst>
                    <p:tags r:id="rId27"/>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9" name="组合 48"/>
              <p:cNvGrpSpPr/>
              <p:nvPr/>
            </p:nvGrpSpPr>
            <p:grpSpPr>
              <a:xfrm>
                <a:off x="15437" y="8613"/>
                <a:ext cx="1252" cy="452"/>
                <a:chOff x="14837" y="4428"/>
                <a:chExt cx="1252" cy="452"/>
              </a:xfrm>
              <a:grpFill/>
            </p:grpSpPr>
            <p:sp>
              <p:nvSpPr>
                <p:cNvPr id="50" name="矩形 49"/>
                <p:cNvSpPr/>
                <p:nvPr>
                  <p:custDataLst>
                    <p:tags r:id="rId28"/>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矩形 50"/>
                <p:cNvSpPr/>
                <p:nvPr>
                  <p:custDataLst>
                    <p:tags r:id="rId29"/>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53" name="组合 52"/>
            <p:cNvGrpSpPr/>
            <p:nvPr/>
          </p:nvGrpSpPr>
          <p:grpSpPr>
            <a:xfrm>
              <a:off x="13557" y="7584"/>
              <a:ext cx="1252" cy="452"/>
              <a:chOff x="14837" y="4428"/>
              <a:chExt cx="1252" cy="452"/>
            </a:xfrm>
            <a:grpFill/>
          </p:grpSpPr>
          <p:sp>
            <p:nvSpPr>
              <p:cNvPr id="55" name="矩形 54"/>
              <p:cNvSpPr/>
              <p:nvPr>
                <p:custDataLst>
                  <p:tags r:id="rId30"/>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矩形 55"/>
              <p:cNvSpPr/>
              <p:nvPr>
                <p:custDataLst>
                  <p:tags r:id="rId31"/>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57" name="组合 56"/>
            <p:cNvGrpSpPr/>
            <p:nvPr/>
          </p:nvGrpSpPr>
          <p:grpSpPr>
            <a:xfrm>
              <a:off x="13557" y="8099"/>
              <a:ext cx="1252" cy="452"/>
              <a:chOff x="14837" y="4428"/>
              <a:chExt cx="1252" cy="452"/>
            </a:xfrm>
            <a:grpFill/>
          </p:grpSpPr>
          <p:sp>
            <p:nvSpPr>
              <p:cNvPr id="58" name="矩形 57"/>
              <p:cNvSpPr/>
              <p:nvPr>
                <p:custDataLst>
                  <p:tags r:id="rId32"/>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矩形 58"/>
              <p:cNvSpPr/>
              <p:nvPr>
                <p:custDataLst>
                  <p:tags r:id="rId33"/>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0" name="组合 59"/>
            <p:cNvGrpSpPr/>
            <p:nvPr/>
          </p:nvGrpSpPr>
          <p:grpSpPr>
            <a:xfrm>
              <a:off x="13557" y="8614"/>
              <a:ext cx="1252" cy="452"/>
              <a:chOff x="14837" y="4428"/>
              <a:chExt cx="1252" cy="452"/>
            </a:xfrm>
            <a:grpFill/>
          </p:grpSpPr>
          <p:sp>
            <p:nvSpPr>
              <p:cNvPr id="61" name="矩形 60"/>
              <p:cNvSpPr/>
              <p:nvPr>
                <p:custDataLst>
                  <p:tags r:id="rId3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矩形 61"/>
              <p:cNvSpPr/>
              <p:nvPr>
                <p:custDataLst>
                  <p:tags r:id="rId3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81" name="组合 80"/>
            <p:cNvGrpSpPr/>
            <p:nvPr/>
          </p:nvGrpSpPr>
          <p:grpSpPr>
            <a:xfrm>
              <a:off x="11728" y="5823"/>
              <a:ext cx="1343" cy="3514"/>
              <a:chOff x="11728" y="5823"/>
              <a:chExt cx="1343" cy="3514"/>
            </a:xfrm>
            <a:grpFill/>
          </p:grpSpPr>
          <p:sp>
            <p:nvSpPr>
              <p:cNvPr id="6" name="矩形 5"/>
              <p:cNvSpPr/>
              <p:nvPr>
                <p:custDataLst>
                  <p:tags r:id="rId36"/>
                </p:custDataLst>
              </p:nvPr>
            </p:nvSpPr>
            <p:spPr>
              <a:xfrm>
                <a:off x="11921" y="6687"/>
                <a:ext cx="1151" cy="2651"/>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流程图: 延期 6"/>
              <p:cNvSpPr/>
              <p:nvPr>
                <p:custDataLst>
                  <p:tags r:id="rId37"/>
                </p:custDataLst>
              </p:nvPr>
            </p:nvSpPr>
            <p:spPr>
              <a:xfrm rot="16200000">
                <a:off x="12064" y="5922"/>
                <a:ext cx="864" cy="667"/>
              </a:xfrm>
              <a:prstGeom prst="flowChartDelay">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3" name="组合 62"/>
              <p:cNvGrpSpPr/>
              <p:nvPr/>
            </p:nvGrpSpPr>
            <p:grpSpPr>
              <a:xfrm>
                <a:off x="11728" y="6993"/>
                <a:ext cx="1057" cy="167"/>
                <a:chOff x="14837" y="4428"/>
                <a:chExt cx="1252" cy="452"/>
              </a:xfrm>
              <a:grpFill/>
            </p:grpSpPr>
            <p:sp>
              <p:nvSpPr>
                <p:cNvPr id="64" name="矩形 63"/>
                <p:cNvSpPr/>
                <p:nvPr>
                  <p:custDataLst>
                    <p:tags r:id="rId38"/>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7" name="矩形 66"/>
                <p:cNvSpPr/>
                <p:nvPr>
                  <p:custDataLst>
                    <p:tags r:id="rId39"/>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68" name="组合 67"/>
              <p:cNvGrpSpPr/>
              <p:nvPr/>
            </p:nvGrpSpPr>
            <p:grpSpPr>
              <a:xfrm>
                <a:off x="11729" y="7431"/>
                <a:ext cx="1057" cy="167"/>
                <a:chOff x="14837" y="4428"/>
                <a:chExt cx="1252" cy="452"/>
              </a:xfrm>
              <a:grpFill/>
            </p:grpSpPr>
            <p:sp>
              <p:nvSpPr>
                <p:cNvPr id="69" name="矩形 68"/>
                <p:cNvSpPr/>
                <p:nvPr>
                  <p:custDataLst>
                    <p:tags r:id="rId40"/>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0" name="矩形 69"/>
                <p:cNvSpPr/>
                <p:nvPr>
                  <p:custDataLst>
                    <p:tags r:id="rId41"/>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2" name="组合 71"/>
              <p:cNvGrpSpPr/>
              <p:nvPr/>
            </p:nvGrpSpPr>
            <p:grpSpPr>
              <a:xfrm>
                <a:off x="11730" y="7869"/>
                <a:ext cx="1057" cy="167"/>
                <a:chOff x="14837" y="4428"/>
                <a:chExt cx="1252" cy="452"/>
              </a:xfrm>
              <a:grpFill/>
            </p:grpSpPr>
            <p:sp>
              <p:nvSpPr>
                <p:cNvPr id="73" name="矩形 72"/>
                <p:cNvSpPr/>
                <p:nvPr>
                  <p:custDataLst>
                    <p:tags r:id="rId42"/>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4" name="矩形 73"/>
                <p:cNvSpPr/>
                <p:nvPr>
                  <p:custDataLst>
                    <p:tags r:id="rId43"/>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5" name="组合 74"/>
              <p:cNvGrpSpPr/>
              <p:nvPr/>
            </p:nvGrpSpPr>
            <p:grpSpPr>
              <a:xfrm>
                <a:off x="11732" y="8307"/>
                <a:ext cx="1057" cy="167"/>
                <a:chOff x="14837" y="4428"/>
                <a:chExt cx="1252" cy="452"/>
              </a:xfrm>
              <a:grpFill/>
            </p:grpSpPr>
            <p:sp>
              <p:nvSpPr>
                <p:cNvPr id="76" name="矩形 75"/>
                <p:cNvSpPr/>
                <p:nvPr>
                  <p:custDataLst>
                    <p:tags r:id="rId44"/>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7" name="矩形 76"/>
                <p:cNvSpPr/>
                <p:nvPr>
                  <p:custDataLst>
                    <p:tags r:id="rId45"/>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8" name="组合 77"/>
              <p:cNvGrpSpPr/>
              <p:nvPr/>
            </p:nvGrpSpPr>
            <p:grpSpPr>
              <a:xfrm>
                <a:off x="11731" y="8745"/>
                <a:ext cx="1057" cy="167"/>
                <a:chOff x="14837" y="4428"/>
                <a:chExt cx="1252" cy="452"/>
              </a:xfrm>
              <a:grpFill/>
            </p:grpSpPr>
            <p:sp>
              <p:nvSpPr>
                <p:cNvPr id="79" name="矩形 78"/>
                <p:cNvSpPr/>
                <p:nvPr>
                  <p:custDataLst>
                    <p:tags r:id="rId46"/>
                  </p:custDataLst>
                </p:nvPr>
              </p:nvSpPr>
              <p:spPr>
                <a:xfrm>
                  <a:off x="1483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0" name="矩形 79"/>
                <p:cNvSpPr/>
                <p:nvPr>
                  <p:custDataLst>
                    <p:tags r:id="rId47"/>
                  </p:custDataLst>
                </p:nvPr>
              </p:nvSpPr>
              <p:spPr>
                <a:xfrm>
                  <a:off x="15577" y="4428"/>
                  <a:ext cx="513" cy="452"/>
                </a:xfrm>
                <a:prstGeom prst="rect">
                  <a:avLst/>
                </a:prstGeom>
                <a:solidFill>
                  <a:schemeClr val="dk2"/>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sp>
        <p:nvSpPr>
          <p:cNvPr id="83" name="任意多边形 82"/>
          <p:cNvSpPr/>
          <p:nvPr>
            <p:custDataLst>
              <p:tags r:id="rId48"/>
            </p:custDataLst>
          </p:nvPr>
        </p:nvSpPr>
        <p:spPr>
          <a:xfrm>
            <a:off x="7671435" y="4051300"/>
            <a:ext cx="1051560" cy="1224280"/>
          </a:xfrm>
          <a:custGeom>
            <a:avLst/>
            <a:gdLst>
              <a:gd name="connisteX0" fmla="*/ 92580 w 1508411"/>
              <a:gd name="connsiteY0" fmla="*/ 1239538 h 1592222"/>
              <a:gd name="connisteX1" fmla="*/ 14475 w 1508411"/>
              <a:gd name="connsiteY1" fmla="*/ 821708 h 1592222"/>
              <a:gd name="connisteX2" fmla="*/ 379600 w 1508411"/>
              <a:gd name="connsiteY2" fmla="*/ 626128 h 1592222"/>
              <a:gd name="connisteX3" fmla="*/ 445005 w 1508411"/>
              <a:gd name="connsiteY3" fmla="*/ 273703 h 1592222"/>
              <a:gd name="connisteX4" fmla="*/ 536445 w 1508411"/>
              <a:gd name="connsiteY4" fmla="*/ 548023 h 1592222"/>
              <a:gd name="connisteX5" fmla="*/ 497075 w 1508411"/>
              <a:gd name="connsiteY5" fmla="*/ 809008 h 1592222"/>
              <a:gd name="connisteX6" fmla="*/ 849500 w 1508411"/>
              <a:gd name="connsiteY6" fmla="*/ 769638 h 1592222"/>
              <a:gd name="connisteX7" fmla="*/ 1123185 w 1508411"/>
              <a:gd name="connsiteY7" fmla="*/ 417213 h 1592222"/>
              <a:gd name="connisteX8" fmla="*/ 1136520 w 1508411"/>
              <a:gd name="connsiteY8" fmla="*/ 18 h 1592222"/>
              <a:gd name="connisteX9" fmla="*/ 1292730 w 1508411"/>
              <a:gd name="connsiteY9" fmla="*/ 404513 h 1592222"/>
              <a:gd name="connisteX10" fmla="*/ 1319400 w 1508411"/>
              <a:gd name="connsiteY10" fmla="*/ 717568 h 1592222"/>
              <a:gd name="connisteX11" fmla="*/ 1488945 w 1508411"/>
              <a:gd name="connsiteY11" fmla="*/ 600093 h 1592222"/>
              <a:gd name="connisteX12" fmla="*/ 1462910 w 1508411"/>
              <a:gd name="connsiteY12" fmla="*/ 782338 h 1592222"/>
              <a:gd name="connisteX13" fmla="*/ 1266695 w 1508411"/>
              <a:gd name="connsiteY13" fmla="*/ 1030623 h 1592222"/>
              <a:gd name="connisteX14" fmla="*/ 1501645 w 1508411"/>
              <a:gd name="connsiteY14" fmla="*/ 926483 h 1592222"/>
              <a:gd name="connisteX15" fmla="*/ 1410205 w 1508411"/>
              <a:gd name="connsiteY15" fmla="*/ 1174133 h 1592222"/>
              <a:gd name="connisteX16" fmla="*/ 1240660 w 1508411"/>
              <a:gd name="connsiteY16" fmla="*/ 1474488 h 1592222"/>
              <a:gd name="connisteX17" fmla="*/ 549145 w 1508411"/>
              <a:gd name="connsiteY17" fmla="*/ 1591328 h 1592222"/>
              <a:gd name="connisteX18" fmla="*/ 40510 w 1508411"/>
              <a:gd name="connsiteY18" fmla="*/ 1435118 h 1592222"/>
              <a:gd name="connisteX19" fmla="*/ 92580 w 1508411"/>
              <a:gd name="connsiteY19" fmla="*/ 1239538 h 159222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1508412" h="1592222">
                <a:moveTo>
                  <a:pt x="92580" y="1239538"/>
                </a:moveTo>
                <a:cubicBezTo>
                  <a:pt x="87500" y="1116983"/>
                  <a:pt x="-42675" y="944263"/>
                  <a:pt x="14475" y="821708"/>
                </a:cubicBezTo>
                <a:cubicBezTo>
                  <a:pt x="71625" y="699153"/>
                  <a:pt x="293240" y="735983"/>
                  <a:pt x="379600" y="626128"/>
                </a:cubicBezTo>
                <a:cubicBezTo>
                  <a:pt x="465960" y="516273"/>
                  <a:pt x="413890" y="289578"/>
                  <a:pt x="445005" y="273703"/>
                </a:cubicBezTo>
                <a:cubicBezTo>
                  <a:pt x="476120" y="257828"/>
                  <a:pt x="526285" y="440708"/>
                  <a:pt x="536445" y="548023"/>
                </a:cubicBezTo>
                <a:cubicBezTo>
                  <a:pt x="546605" y="655338"/>
                  <a:pt x="434210" y="764558"/>
                  <a:pt x="497075" y="809008"/>
                </a:cubicBezTo>
                <a:cubicBezTo>
                  <a:pt x="559940" y="853458"/>
                  <a:pt x="724405" y="847743"/>
                  <a:pt x="849500" y="769638"/>
                </a:cubicBezTo>
                <a:cubicBezTo>
                  <a:pt x="974595" y="691533"/>
                  <a:pt x="1066035" y="570883"/>
                  <a:pt x="1123185" y="417213"/>
                </a:cubicBezTo>
                <a:cubicBezTo>
                  <a:pt x="1180335" y="263543"/>
                  <a:pt x="1102865" y="2558"/>
                  <a:pt x="1136520" y="18"/>
                </a:cubicBezTo>
                <a:cubicBezTo>
                  <a:pt x="1170175" y="-2522"/>
                  <a:pt x="1255900" y="261003"/>
                  <a:pt x="1292730" y="404513"/>
                </a:cubicBezTo>
                <a:cubicBezTo>
                  <a:pt x="1329560" y="548023"/>
                  <a:pt x="1280030" y="678198"/>
                  <a:pt x="1319400" y="717568"/>
                </a:cubicBezTo>
                <a:cubicBezTo>
                  <a:pt x="1358770" y="756938"/>
                  <a:pt x="1460370" y="587393"/>
                  <a:pt x="1488945" y="600093"/>
                </a:cubicBezTo>
                <a:cubicBezTo>
                  <a:pt x="1517520" y="612793"/>
                  <a:pt x="1507360" y="695978"/>
                  <a:pt x="1462910" y="782338"/>
                </a:cubicBezTo>
                <a:cubicBezTo>
                  <a:pt x="1418460" y="868698"/>
                  <a:pt x="1259075" y="1002048"/>
                  <a:pt x="1266695" y="1030623"/>
                </a:cubicBezTo>
                <a:cubicBezTo>
                  <a:pt x="1274315" y="1059198"/>
                  <a:pt x="1473070" y="897908"/>
                  <a:pt x="1501645" y="926483"/>
                </a:cubicBezTo>
                <a:cubicBezTo>
                  <a:pt x="1530220" y="955058"/>
                  <a:pt x="1462275" y="1064278"/>
                  <a:pt x="1410205" y="1174133"/>
                </a:cubicBezTo>
                <a:cubicBezTo>
                  <a:pt x="1358135" y="1283988"/>
                  <a:pt x="1412745" y="1391303"/>
                  <a:pt x="1240660" y="1474488"/>
                </a:cubicBezTo>
                <a:cubicBezTo>
                  <a:pt x="1068575" y="1557673"/>
                  <a:pt x="789175" y="1598948"/>
                  <a:pt x="549145" y="1591328"/>
                </a:cubicBezTo>
                <a:cubicBezTo>
                  <a:pt x="309115" y="1583708"/>
                  <a:pt x="131950" y="1505603"/>
                  <a:pt x="40510" y="1435118"/>
                </a:cubicBezTo>
                <a:cubicBezTo>
                  <a:pt x="-50930" y="1364633"/>
                  <a:pt x="97660" y="1362093"/>
                  <a:pt x="92580" y="1239538"/>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4" name="任意多边形 83"/>
          <p:cNvSpPr/>
          <p:nvPr>
            <p:custDataLst>
              <p:tags r:id="rId49"/>
            </p:custDataLst>
          </p:nvPr>
        </p:nvSpPr>
        <p:spPr>
          <a:xfrm>
            <a:off x="8934450" y="3875405"/>
            <a:ext cx="652145" cy="843280"/>
          </a:xfrm>
          <a:custGeom>
            <a:avLst/>
            <a:gdLst>
              <a:gd name="connisteX0" fmla="*/ 92580 w 1508411"/>
              <a:gd name="connsiteY0" fmla="*/ 1239538 h 1592222"/>
              <a:gd name="connisteX1" fmla="*/ 14475 w 1508411"/>
              <a:gd name="connsiteY1" fmla="*/ 821708 h 1592222"/>
              <a:gd name="connisteX2" fmla="*/ 379600 w 1508411"/>
              <a:gd name="connsiteY2" fmla="*/ 626128 h 1592222"/>
              <a:gd name="connisteX3" fmla="*/ 445005 w 1508411"/>
              <a:gd name="connsiteY3" fmla="*/ 273703 h 1592222"/>
              <a:gd name="connisteX4" fmla="*/ 536445 w 1508411"/>
              <a:gd name="connsiteY4" fmla="*/ 548023 h 1592222"/>
              <a:gd name="connisteX5" fmla="*/ 497075 w 1508411"/>
              <a:gd name="connsiteY5" fmla="*/ 809008 h 1592222"/>
              <a:gd name="connisteX6" fmla="*/ 849500 w 1508411"/>
              <a:gd name="connsiteY6" fmla="*/ 769638 h 1592222"/>
              <a:gd name="connisteX7" fmla="*/ 1123185 w 1508411"/>
              <a:gd name="connsiteY7" fmla="*/ 417213 h 1592222"/>
              <a:gd name="connisteX8" fmla="*/ 1136520 w 1508411"/>
              <a:gd name="connsiteY8" fmla="*/ 18 h 1592222"/>
              <a:gd name="connisteX9" fmla="*/ 1292730 w 1508411"/>
              <a:gd name="connsiteY9" fmla="*/ 404513 h 1592222"/>
              <a:gd name="connisteX10" fmla="*/ 1319400 w 1508411"/>
              <a:gd name="connsiteY10" fmla="*/ 717568 h 1592222"/>
              <a:gd name="connisteX11" fmla="*/ 1488945 w 1508411"/>
              <a:gd name="connsiteY11" fmla="*/ 600093 h 1592222"/>
              <a:gd name="connisteX12" fmla="*/ 1462910 w 1508411"/>
              <a:gd name="connsiteY12" fmla="*/ 782338 h 1592222"/>
              <a:gd name="connisteX13" fmla="*/ 1266695 w 1508411"/>
              <a:gd name="connsiteY13" fmla="*/ 1030623 h 1592222"/>
              <a:gd name="connisteX14" fmla="*/ 1501645 w 1508411"/>
              <a:gd name="connsiteY14" fmla="*/ 926483 h 1592222"/>
              <a:gd name="connisteX15" fmla="*/ 1410205 w 1508411"/>
              <a:gd name="connsiteY15" fmla="*/ 1174133 h 1592222"/>
              <a:gd name="connisteX16" fmla="*/ 1240660 w 1508411"/>
              <a:gd name="connsiteY16" fmla="*/ 1474488 h 1592222"/>
              <a:gd name="connisteX17" fmla="*/ 549145 w 1508411"/>
              <a:gd name="connsiteY17" fmla="*/ 1591328 h 1592222"/>
              <a:gd name="connisteX18" fmla="*/ 40510 w 1508411"/>
              <a:gd name="connsiteY18" fmla="*/ 1435118 h 1592222"/>
              <a:gd name="connisteX19" fmla="*/ 92580 w 1508411"/>
              <a:gd name="connsiteY19" fmla="*/ 1239538 h 159222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1508412" h="1592222">
                <a:moveTo>
                  <a:pt x="92580" y="1239538"/>
                </a:moveTo>
                <a:cubicBezTo>
                  <a:pt x="87500" y="1116983"/>
                  <a:pt x="-42675" y="944263"/>
                  <a:pt x="14475" y="821708"/>
                </a:cubicBezTo>
                <a:cubicBezTo>
                  <a:pt x="71625" y="699153"/>
                  <a:pt x="293240" y="735983"/>
                  <a:pt x="379600" y="626128"/>
                </a:cubicBezTo>
                <a:cubicBezTo>
                  <a:pt x="465960" y="516273"/>
                  <a:pt x="413890" y="289578"/>
                  <a:pt x="445005" y="273703"/>
                </a:cubicBezTo>
                <a:cubicBezTo>
                  <a:pt x="476120" y="257828"/>
                  <a:pt x="526285" y="440708"/>
                  <a:pt x="536445" y="548023"/>
                </a:cubicBezTo>
                <a:cubicBezTo>
                  <a:pt x="546605" y="655338"/>
                  <a:pt x="434210" y="764558"/>
                  <a:pt x="497075" y="809008"/>
                </a:cubicBezTo>
                <a:cubicBezTo>
                  <a:pt x="559940" y="853458"/>
                  <a:pt x="724405" y="847743"/>
                  <a:pt x="849500" y="769638"/>
                </a:cubicBezTo>
                <a:cubicBezTo>
                  <a:pt x="974595" y="691533"/>
                  <a:pt x="1066035" y="570883"/>
                  <a:pt x="1123185" y="417213"/>
                </a:cubicBezTo>
                <a:cubicBezTo>
                  <a:pt x="1180335" y="263543"/>
                  <a:pt x="1102865" y="2558"/>
                  <a:pt x="1136520" y="18"/>
                </a:cubicBezTo>
                <a:cubicBezTo>
                  <a:pt x="1170175" y="-2522"/>
                  <a:pt x="1255900" y="261003"/>
                  <a:pt x="1292730" y="404513"/>
                </a:cubicBezTo>
                <a:cubicBezTo>
                  <a:pt x="1329560" y="548023"/>
                  <a:pt x="1280030" y="678198"/>
                  <a:pt x="1319400" y="717568"/>
                </a:cubicBezTo>
                <a:cubicBezTo>
                  <a:pt x="1358770" y="756938"/>
                  <a:pt x="1460370" y="587393"/>
                  <a:pt x="1488945" y="600093"/>
                </a:cubicBezTo>
                <a:cubicBezTo>
                  <a:pt x="1517520" y="612793"/>
                  <a:pt x="1507360" y="695978"/>
                  <a:pt x="1462910" y="782338"/>
                </a:cubicBezTo>
                <a:cubicBezTo>
                  <a:pt x="1418460" y="868698"/>
                  <a:pt x="1259075" y="1002048"/>
                  <a:pt x="1266695" y="1030623"/>
                </a:cubicBezTo>
                <a:cubicBezTo>
                  <a:pt x="1274315" y="1059198"/>
                  <a:pt x="1473070" y="897908"/>
                  <a:pt x="1501645" y="926483"/>
                </a:cubicBezTo>
                <a:cubicBezTo>
                  <a:pt x="1530220" y="955058"/>
                  <a:pt x="1462275" y="1064278"/>
                  <a:pt x="1410205" y="1174133"/>
                </a:cubicBezTo>
                <a:cubicBezTo>
                  <a:pt x="1358135" y="1283988"/>
                  <a:pt x="1412745" y="1391303"/>
                  <a:pt x="1240660" y="1474488"/>
                </a:cubicBezTo>
                <a:cubicBezTo>
                  <a:pt x="1068575" y="1557673"/>
                  <a:pt x="789175" y="1598948"/>
                  <a:pt x="549145" y="1591328"/>
                </a:cubicBezTo>
                <a:cubicBezTo>
                  <a:pt x="309115" y="1583708"/>
                  <a:pt x="131950" y="1505603"/>
                  <a:pt x="40510" y="1435118"/>
                </a:cubicBezTo>
                <a:cubicBezTo>
                  <a:pt x="-50930" y="1364633"/>
                  <a:pt x="97660" y="1362093"/>
                  <a:pt x="92580" y="1239538"/>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5" name="任意多边形 84"/>
          <p:cNvSpPr/>
          <p:nvPr>
            <p:custDataLst>
              <p:tags r:id="rId50"/>
            </p:custDataLst>
          </p:nvPr>
        </p:nvSpPr>
        <p:spPr>
          <a:xfrm>
            <a:off x="8722995" y="4997450"/>
            <a:ext cx="515620" cy="555625"/>
          </a:xfrm>
          <a:custGeom>
            <a:avLst/>
            <a:gdLst>
              <a:gd name="connisteX0" fmla="*/ 92580 w 1508411"/>
              <a:gd name="connsiteY0" fmla="*/ 1239538 h 1592222"/>
              <a:gd name="connisteX1" fmla="*/ 14475 w 1508411"/>
              <a:gd name="connsiteY1" fmla="*/ 821708 h 1592222"/>
              <a:gd name="connisteX2" fmla="*/ 379600 w 1508411"/>
              <a:gd name="connsiteY2" fmla="*/ 626128 h 1592222"/>
              <a:gd name="connisteX3" fmla="*/ 445005 w 1508411"/>
              <a:gd name="connsiteY3" fmla="*/ 273703 h 1592222"/>
              <a:gd name="connisteX4" fmla="*/ 536445 w 1508411"/>
              <a:gd name="connsiteY4" fmla="*/ 548023 h 1592222"/>
              <a:gd name="connisteX5" fmla="*/ 497075 w 1508411"/>
              <a:gd name="connsiteY5" fmla="*/ 809008 h 1592222"/>
              <a:gd name="connisteX6" fmla="*/ 849500 w 1508411"/>
              <a:gd name="connsiteY6" fmla="*/ 769638 h 1592222"/>
              <a:gd name="connisteX7" fmla="*/ 1123185 w 1508411"/>
              <a:gd name="connsiteY7" fmla="*/ 417213 h 1592222"/>
              <a:gd name="connisteX8" fmla="*/ 1136520 w 1508411"/>
              <a:gd name="connsiteY8" fmla="*/ 18 h 1592222"/>
              <a:gd name="connisteX9" fmla="*/ 1292730 w 1508411"/>
              <a:gd name="connsiteY9" fmla="*/ 404513 h 1592222"/>
              <a:gd name="connisteX10" fmla="*/ 1319400 w 1508411"/>
              <a:gd name="connsiteY10" fmla="*/ 717568 h 1592222"/>
              <a:gd name="connisteX11" fmla="*/ 1488945 w 1508411"/>
              <a:gd name="connsiteY11" fmla="*/ 600093 h 1592222"/>
              <a:gd name="connisteX12" fmla="*/ 1462910 w 1508411"/>
              <a:gd name="connsiteY12" fmla="*/ 782338 h 1592222"/>
              <a:gd name="connisteX13" fmla="*/ 1266695 w 1508411"/>
              <a:gd name="connsiteY13" fmla="*/ 1030623 h 1592222"/>
              <a:gd name="connisteX14" fmla="*/ 1501645 w 1508411"/>
              <a:gd name="connsiteY14" fmla="*/ 926483 h 1592222"/>
              <a:gd name="connisteX15" fmla="*/ 1410205 w 1508411"/>
              <a:gd name="connsiteY15" fmla="*/ 1174133 h 1592222"/>
              <a:gd name="connisteX16" fmla="*/ 1240660 w 1508411"/>
              <a:gd name="connsiteY16" fmla="*/ 1474488 h 1592222"/>
              <a:gd name="connisteX17" fmla="*/ 549145 w 1508411"/>
              <a:gd name="connsiteY17" fmla="*/ 1591328 h 1592222"/>
              <a:gd name="connisteX18" fmla="*/ 40510 w 1508411"/>
              <a:gd name="connsiteY18" fmla="*/ 1435118 h 1592222"/>
              <a:gd name="connisteX19" fmla="*/ 92580 w 1508411"/>
              <a:gd name="connsiteY19" fmla="*/ 1239538 h 159222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1508412" h="1592222">
                <a:moveTo>
                  <a:pt x="92580" y="1239538"/>
                </a:moveTo>
                <a:cubicBezTo>
                  <a:pt x="87500" y="1116983"/>
                  <a:pt x="-42675" y="944263"/>
                  <a:pt x="14475" y="821708"/>
                </a:cubicBezTo>
                <a:cubicBezTo>
                  <a:pt x="71625" y="699153"/>
                  <a:pt x="293240" y="735983"/>
                  <a:pt x="379600" y="626128"/>
                </a:cubicBezTo>
                <a:cubicBezTo>
                  <a:pt x="465960" y="516273"/>
                  <a:pt x="413890" y="289578"/>
                  <a:pt x="445005" y="273703"/>
                </a:cubicBezTo>
                <a:cubicBezTo>
                  <a:pt x="476120" y="257828"/>
                  <a:pt x="526285" y="440708"/>
                  <a:pt x="536445" y="548023"/>
                </a:cubicBezTo>
                <a:cubicBezTo>
                  <a:pt x="546605" y="655338"/>
                  <a:pt x="434210" y="764558"/>
                  <a:pt x="497075" y="809008"/>
                </a:cubicBezTo>
                <a:cubicBezTo>
                  <a:pt x="559940" y="853458"/>
                  <a:pt x="724405" y="847743"/>
                  <a:pt x="849500" y="769638"/>
                </a:cubicBezTo>
                <a:cubicBezTo>
                  <a:pt x="974595" y="691533"/>
                  <a:pt x="1066035" y="570883"/>
                  <a:pt x="1123185" y="417213"/>
                </a:cubicBezTo>
                <a:cubicBezTo>
                  <a:pt x="1180335" y="263543"/>
                  <a:pt x="1102865" y="2558"/>
                  <a:pt x="1136520" y="18"/>
                </a:cubicBezTo>
                <a:cubicBezTo>
                  <a:pt x="1170175" y="-2522"/>
                  <a:pt x="1255900" y="261003"/>
                  <a:pt x="1292730" y="404513"/>
                </a:cubicBezTo>
                <a:cubicBezTo>
                  <a:pt x="1329560" y="548023"/>
                  <a:pt x="1280030" y="678198"/>
                  <a:pt x="1319400" y="717568"/>
                </a:cubicBezTo>
                <a:cubicBezTo>
                  <a:pt x="1358770" y="756938"/>
                  <a:pt x="1460370" y="587393"/>
                  <a:pt x="1488945" y="600093"/>
                </a:cubicBezTo>
                <a:cubicBezTo>
                  <a:pt x="1517520" y="612793"/>
                  <a:pt x="1507360" y="695978"/>
                  <a:pt x="1462910" y="782338"/>
                </a:cubicBezTo>
                <a:cubicBezTo>
                  <a:pt x="1418460" y="868698"/>
                  <a:pt x="1259075" y="1002048"/>
                  <a:pt x="1266695" y="1030623"/>
                </a:cubicBezTo>
                <a:cubicBezTo>
                  <a:pt x="1274315" y="1059198"/>
                  <a:pt x="1473070" y="897908"/>
                  <a:pt x="1501645" y="926483"/>
                </a:cubicBezTo>
                <a:cubicBezTo>
                  <a:pt x="1530220" y="955058"/>
                  <a:pt x="1462275" y="1064278"/>
                  <a:pt x="1410205" y="1174133"/>
                </a:cubicBezTo>
                <a:cubicBezTo>
                  <a:pt x="1358135" y="1283988"/>
                  <a:pt x="1412745" y="1391303"/>
                  <a:pt x="1240660" y="1474488"/>
                </a:cubicBezTo>
                <a:cubicBezTo>
                  <a:pt x="1068575" y="1557673"/>
                  <a:pt x="789175" y="1598948"/>
                  <a:pt x="549145" y="1591328"/>
                </a:cubicBezTo>
                <a:cubicBezTo>
                  <a:pt x="309115" y="1583708"/>
                  <a:pt x="131950" y="1505603"/>
                  <a:pt x="40510" y="1435118"/>
                </a:cubicBezTo>
                <a:cubicBezTo>
                  <a:pt x="-50930" y="1364633"/>
                  <a:pt x="97660" y="1362093"/>
                  <a:pt x="92580" y="1239538"/>
                </a:cubicBez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51"/>
    </p:custDataLst>
  </p:cSld>
  <p:clrMapOvr>
    <a:masterClrMapping/>
  </p:clrMapOvr>
  <p:transition spd="slow">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490220" y="1703705"/>
            <a:ext cx="11211560" cy="5077460"/>
          </a:xfrm>
          <a:prstGeom prst="rect">
            <a:avLst/>
          </a:prstGeom>
          <a:noFill/>
        </p:spPr>
        <p:txBody>
          <a:bodyPr wrap="square" rtlCol="0">
            <a:spAutoFit/>
          </a:bodyPr>
          <a:lstStyle/>
          <a:p>
            <a:pPr>
              <a:lnSpc>
                <a:spcPct val="150000"/>
              </a:lnSpc>
            </a:pPr>
            <a:r>
              <a:rPr dirty="0">
                <a:solidFill>
                  <a:schemeClr val="dk1"/>
                </a:solidFill>
              </a:rPr>
              <a:t>宿舍中失火逃生法宿舍中失火，火势正在蔓延，怎么办呢？上上之策就是跑到屋外去。宿舍中各个房间的可供逃生路线，平时就应加以留意。一旦失火，可以迅速脱离险境。若大火封锁楼梯，不能往下逃生，那么楼上哪一个房间最易跑出去？哪个房间的窗最大、离地面最近？从哪个窗跳下可顺利落地而不会受伤？附近有没有阳台或房屋可助安全落地？为防患于未然，这些问题都应详加考虑。</a:t>
            </a:r>
            <a:endParaRPr dirty="0">
              <a:solidFill>
                <a:schemeClr val="dk1"/>
              </a:solidFill>
            </a:endParaRPr>
          </a:p>
          <a:p>
            <a:pPr>
              <a:lnSpc>
                <a:spcPct val="150000"/>
              </a:lnSpc>
            </a:pPr>
            <a:r>
              <a:rPr dirty="0">
                <a:solidFill>
                  <a:schemeClr val="dk1"/>
                </a:solidFill>
              </a:rPr>
              <a:t>用最安全的方法避开熊熊烈火，迅速往楼下逃生。开门之前，先用手碰一下门把，如果门把烫手，或门隙有烟冒进来，切勿开门。用手背去碰是因为金属把传热比门框快，手背一感到热就会马上缩开，不熟悉火场环境时可用这方法。若门把烫手，打开一道缝以观察可否走出去。用肢抵住门下方，防止热气流把门冲开。如门外起火开门会鼓起阵风，助长火势；找开门窗则形同用扇扇火，应尽可能把全部门窗关上。匍匐而行，浓烟从下往上扩散，越近地面，浓烟越稀薄，呼吸较容易，视野也较清晰。逃出火场后，看看别人是否都逃离火场，切勿让人折返火场救财物。马上打电话通知消防队，打电话救助时必须详细说出火场地址及起火地点，一般人在惊惶间往往会忘记说出这些重要资料，以致延误援救。</a:t>
            </a:r>
            <a:endParaRPr dirty="0">
              <a:solidFill>
                <a:schemeClr val="dk1"/>
              </a:solidFill>
            </a:endParaRPr>
          </a:p>
          <a:p>
            <a:pPr>
              <a:lnSpc>
                <a:spcPct val="150000"/>
              </a:lnSpc>
            </a:pPr>
            <a:endParaRPr dirty="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681480"/>
            <a:ext cx="10518140" cy="5169535"/>
          </a:xfrm>
          <a:prstGeom prst="rect">
            <a:avLst/>
          </a:prstGeom>
          <a:noFill/>
        </p:spPr>
        <p:txBody>
          <a:bodyPr wrap="square" rtlCol="0">
            <a:spAutoFit/>
          </a:bodyPr>
          <a:lstStyle/>
          <a:p>
            <a:pPr>
              <a:lnSpc>
                <a:spcPct val="150000"/>
              </a:lnSpc>
            </a:pPr>
            <a:r>
              <a:rPr sz="2000">
                <a:solidFill>
                  <a:schemeClr val="dk1"/>
                </a:solidFill>
              </a:rPr>
              <a:t>如果高层建筑失火，逃生时应注意以下几点：</a:t>
            </a:r>
            <a:endParaRPr sz="2000">
              <a:solidFill>
                <a:schemeClr val="dk1"/>
              </a:solidFill>
            </a:endParaRPr>
          </a:p>
          <a:p>
            <a:pPr>
              <a:lnSpc>
                <a:spcPct val="150000"/>
              </a:lnSpc>
            </a:pPr>
            <a:r>
              <a:rPr sz="2000">
                <a:solidFill>
                  <a:schemeClr val="dk1"/>
                </a:solidFill>
              </a:rPr>
              <a:t>1)切勿使用电梯，以免电力突然中断而被困。若电梯门在着火的一层打开，乘客就会给活活烧死。</a:t>
            </a:r>
            <a:endParaRPr sz="2000">
              <a:solidFill>
                <a:schemeClr val="dk1"/>
              </a:solidFill>
            </a:endParaRPr>
          </a:p>
          <a:p>
            <a:pPr>
              <a:lnSpc>
                <a:spcPct val="150000"/>
              </a:lnSpc>
            </a:pPr>
            <a:r>
              <a:rPr sz="2000">
                <a:solidFill>
                  <a:schemeClr val="dk1"/>
                </a:solidFill>
              </a:rPr>
              <a:t>2)很多酒店的房间或走廊都张贴火警逃生路线图，进房后应仔细看一遍，否则紧急时就来不及了。</a:t>
            </a:r>
            <a:endParaRPr sz="2000">
              <a:solidFill>
                <a:schemeClr val="dk1"/>
              </a:solidFill>
            </a:endParaRPr>
          </a:p>
          <a:p>
            <a:pPr>
              <a:lnSpc>
                <a:spcPct val="150000"/>
              </a:lnSpc>
            </a:pPr>
            <a:r>
              <a:rPr sz="2000">
                <a:solidFill>
                  <a:schemeClr val="dk1"/>
                </a:solidFill>
              </a:rPr>
              <a:t>3)想清楚由房间经大堂、楼梯至出口的路线。</a:t>
            </a:r>
            <a:endParaRPr sz="2000">
              <a:solidFill>
                <a:schemeClr val="dk1"/>
              </a:solidFill>
            </a:endParaRPr>
          </a:p>
          <a:p>
            <a:pPr>
              <a:lnSpc>
                <a:spcPct val="150000"/>
              </a:lnSpc>
            </a:pPr>
            <a:r>
              <a:rPr sz="2000">
                <a:solidFill>
                  <a:schemeClr val="dk1"/>
                </a:solidFill>
              </a:rPr>
              <a:t>4)试推开防烟门，如果上了锁，应把锁开了，不再上锁。</a:t>
            </a:r>
            <a:endParaRPr sz="2000">
              <a:solidFill>
                <a:schemeClr val="dk1"/>
              </a:solidFill>
            </a:endParaRPr>
          </a:p>
          <a:p>
            <a:pPr>
              <a:lnSpc>
                <a:spcPct val="150000"/>
              </a:lnSpc>
            </a:pPr>
            <a:r>
              <a:rPr sz="2000">
                <a:solidFill>
                  <a:schemeClr val="dk1"/>
                </a:solidFill>
              </a:rPr>
              <a:t>5)一旦失火，应马上逃生，每开一道门须先试试门把是否烫手，并随手关门。门是遏止火势的最佳屏障，通常要半小时才烧毁。</a:t>
            </a:r>
            <a:endParaRPr sz="2000">
              <a:solidFill>
                <a:schemeClr val="dk1"/>
              </a:solidFill>
            </a:endParaRPr>
          </a:p>
          <a:p>
            <a:pPr>
              <a:lnSpc>
                <a:spcPct val="150000"/>
              </a:lnSpc>
            </a:pP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8509000" cy="2861310"/>
          </a:xfrm>
          <a:prstGeom prst="rect">
            <a:avLst/>
          </a:prstGeom>
          <a:noFill/>
        </p:spPr>
        <p:txBody>
          <a:bodyPr wrap="square" rtlCol="0">
            <a:spAutoFit/>
          </a:bodyPr>
          <a:lstStyle/>
          <a:p>
            <a:pPr>
              <a:lnSpc>
                <a:spcPct val="150000"/>
              </a:lnSpc>
            </a:pPr>
            <a:r>
              <a:rPr sz="2000">
                <a:solidFill>
                  <a:schemeClr val="dk1"/>
                </a:solidFill>
                <a:sym typeface="+mn-ea"/>
              </a:rPr>
              <a:t>6)必须随身携带钥匙，防止去路被阻塞退回房间时会有用。</a:t>
            </a:r>
            <a:endParaRPr sz="2000">
              <a:solidFill>
                <a:schemeClr val="dk1"/>
              </a:solidFill>
            </a:endParaRPr>
          </a:p>
          <a:p>
            <a:pPr>
              <a:lnSpc>
                <a:spcPct val="150000"/>
              </a:lnSpc>
            </a:pPr>
            <a:r>
              <a:rPr sz="2000">
                <a:solidFill>
                  <a:schemeClr val="dk1"/>
                </a:solidFill>
              </a:rPr>
              <a:t>7)一边跑一边拍门通知其他人逃生。如有警钟，应立刻按动。</a:t>
            </a:r>
            <a:endParaRPr sz="2000">
              <a:solidFill>
                <a:schemeClr val="dk1"/>
              </a:solidFill>
            </a:endParaRPr>
          </a:p>
          <a:p>
            <a:pPr>
              <a:lnSpc>
                <a:spcPct val="150000"/>
              </a:lnSpc>
            </a:pPr>
            <a:r>
              <a:rPr sz="2000">
                <a:solidFill>
                  <a:schemeClr val="dk1"/>
                </a:solidFill>
              </a:rPr>
              <a:t>8)如楼梯遭浓烟或大火封锁，切勿当试冲过，应折返房内，或想办法躲到安全地方，必要时走上阳台，等候援救。</a:t>
            </a:r>
            <a:endParaRPr sz="2000">
              <a:solidFill>
                <a:schemeClr val="dk1"/>
              </a:solidFill>
            </a:endParaRPr>
          </a:p>
          <a:p>
            <a:pPr>
              <a:lnSpc>
                <a:spcPct val="150000"/>
              </a:lnSpc>
            </a:pPr>
            <a:r>
              <a:rPr sz="2000">
                <a:solidFill>
                  <a:schemeClr val="dk1"/>
                </a:solidFill>
              </a:rPr>
              <a:t>9)如被困高处，呼救无效，可在窗前挥动被单、枕头套或手巾，引人注意。</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9996170" cy="4246245"/>
          </a:xfrm>
          <a:prstGeom prst="rect">
            <a:avLst/>
          </a:prstGeom>
          <a:noFill/>
        </p:spPr>
        <p:txBody>
          <a:bodyPr wrap="square" rtlCol="0">
            <a:spAutoFit/>
          </a:bodyPr>
          <a:lstStyle/>
          <a:p>
            <a:pPr>
              <a:lnSpc>
                <a:spcPct val="150000"/>
              </a:lnSpc>
            </a:pPr>
            <a:r>
              <a:rPr sz="2000">
                <a:solidFill>
                  <a:schemeClr val="dk1"/>
                </a:solidFill>
              </a:rPr>
              <a:t>几种通用自救法</a:t>
            </a:r>
            <a:endParaRPr sz="2000">
              <a:solidFill>
                <a:schemeClr val="dk1"/>
              </a:solidFill>
            </a:endParaRPr>
          </a:p>
          <a:p>
            <a:pPr>
              <a:lnSpc>
                <a:spcPct val="150000"/>
              </a:lnSpc>
            </a:pPr>
            <a:r>
              <a:rPr sz="2000">
                <a:solidFill>
                  <a:schemeClr val="dk1"/>
                </a:solidFill>
              </a:rPr>
              <a:t>一、绳索自救法：家中有绳索的，可直接将其一端拴在门、窗档或重物上沿另一端爬下。过程中，脚要成绞状夹紧绳子，双手交替往下爬，并尽量采用手套、毛巾将手保护好。有条件的可以使用缓降器逃生。</a:t>
            </a:r>
            <a:endParaRPr sz="2000">
              <a:solidFill>
                <a:schemeClr val="dk1"/>
              </a:solidFill>
            </a:endParaRPr>
          </a:p>
          <a:p>
            <a:pPr>
              <a:lnSpc>
                <a:spcPct val="150000"/>
              </a:lnSpc>
            </a:pPr>
            <a:r>
              <a:rPr sz="2000">
                <a:solidFill>
                  <a:schemeClr val="dk1"/>
                </a:solidFill>
              </a:rPr>
              <a:t>二、匍匐前进法：由于火灾发生时烟气大多聚集在上部空间，因此在逃生过程中应尽量将身体贴近地面匍匐或弯腰前进。</a:t>
            </a:r>
            <a:endParaRPr sz="2000">
              <a:solidFill>
                <a:schemeClr val="dk1"/>
              </a:solidFill>
            </a:endParaRPr>
          </a:p>
          <a:p>
            <a:pPr>
              <a:lnSpc>
                <a:spcPct val="150000"/>
              </a:lnSpc>
            </a:pPr>
            <a:r>
              <a:rPr sz="2000">
                <a:solidFill>
                  <a:schemeClr val="dk1"/>
                </a:solidFill>
              </a:rPr>
              <a:t>三、毛巾捂鼻法：火灾烟气具有温度高、毒性大的特点，一旦吸入后很容易引起呼吸系统烫伤或中毒，因此疏散中应用湿毛巾捂住口鼻，以起到降温及过滤的作用。</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10426700" cy="4707890"/>
          </a:xfrm>
          <a:prstGeom prst="rect">
            <a:avLst/>
          </a:prstGeom>
          <a:noFill/>
        </p:spPr>
        <p:txBody>
          <a:bodyPr wrap="square" rtlCol="0">
            <a:spAutoFit/>
          </a:bodyPr>
          <a:lstStyle/>
          <a:p>
            <a:pPr>
              <a:lnSpc>
                <a:spcPct val="150000"/>
              </a:lnSpc>
            </a:pPr>
            <a:r>
              <a:rPr sz="2000">
                <a:solidFill>
                  <a:schemeClr val="dk1"/>
                </a:solidFill>
              </a:rPr>
              <a:t>四、棉被护身法：用浸泡过的棉被或毛毯、棉大衣盖在身上，确定逃生路线后用最快的速度钻过火场并冲到安全区域。</a:t>
            </a:r>
            <a:endParaRPr sz="2000">
              <a:solidFill>
                <a:schemeClr val="dk1"/>
              </a:solidFill>
            </a:endParaRPr>
          </a:p>
          <a:p>
            <a:pPr>
              <a:lnSpc>
                <a:spcPct val="150000"/>
              </a:lnSpc>
            </a:pPr>
            <a:r>
              <a:rPr sz="2000">
                <a:solidFill>
                  <a:schemeClr val="dk1"/>
                </a:solidFill>
              </a:rPr>
              <a:t>五、毛毯隔火法：将毛毯等织物钉或夹在门上，并不断往上浇水冷却，以防止外部火焰及烟气侵入，从而达到抑制火势蔓延速度、增加逃生时间的目的。</a:t>
            </a:r>
            <a:endParaRPr sz="2000">
              <a:solidFill>
                <a:schemeClr val="dk1"/>
              </a:solidFill>
            </a:endParaRPr>
          </a:p>
          <a:p>
            <a:pPr>
              <a:lnSpc>
                <a:spcPct val="150000"/>
              </a:lnSpc>
            </a:pPr>
            <a:r>
              <a:rPr sz="2000">
                <a:solidFill>
                  <a:schemeClr val="dk1"/>
                </a:solidFill>
              </a:rPr>
              <a:t>六、被单拧结法：把床单、被罩或窗帘等撕成条或拧成麻花状，按绳索逃生的方式沿外墙爬下。</a:t>
            </a:r>
            <a:endParaRPr sz="2000">
              <a:solidFill>
                <a:schemeClr val="dk1"/>
              </a:solidFill>
            </a:endParaRPr>
          </a:p>
          <a:p>
            <a:pPr>
              <a:lnSpc>
                <a:spcPct val="150000"/>
              </a:lnSpc>
            </a:pPr>
            <a:r>
              <a:rPr sz="2000">
                <a:solidFill>
                  <a:schemeClr val="dk1"/>
                </a:solidFill>
              </a:rPr>
              <a:t>七、跳楼求生法：火场切勿轻易跳楼！在万不得已的情况下，住在低楼层的居民可采取跳楼的方法进行逃生。但要选择较低的地面作为落脚点，并将席梦思床垫、沙发垫、厚棉被等抛下做缓冲物。</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10309225" cy="4707890"/>
          </a:xfrm>
          <a:prstGeom prst="rect">
            <a:avLst/>
          </a:prstGeom>
          <a:noFill/>
        </p:spPr>
        <p:txBody>
          <a:bodyPr wrap="square" rtlCol="0">
            <a:spAutoFit/>
          </a:bodyPr>
          <a:lstStyle/>
          <a:p>
            <a:pPr>
              <a:lnSpc>
                <a:spcPct val="150000"/>
              </a:lnSpc>
            </a:pPr>
            <a:r>
              <a:rPr sz="2000">
                <a:solidFill>
                  <a:schemeClr val="dk1"/>
                </a:solidFill>
              </a:rPr>
              <a:t>八、管线下滑法：当建筑物外墙或阳台边上有落水管、电线杆、避雷针引线等竖直管线时，可借助其下滑至地面，同时应注意一次下滑时人数不宜过多，以防止逃生途中因管线损坏而致人坠落。</a:t>
            </a:r>
            <a:endParaRPr sz="2000">
              <a:solidFill>
                <a:schemeClr val="dk1"/>
              </a:solidFill>
            </a:endParaRPr>
          </a:p>
          <a:p>
            <a:pPr>
              <a:lnSpc>
                <a:spcPct val="150000"/>
              </a:lnSpc>
            </a:pPr>
            <a:r>
              <a:rPr sz="2000">
                <a:solidFill>
                  <a:schemeClr val="dk1"/>
                </a:solidFill>
              </a:rPr>
              <a:t>九、竹竿插地法：将结实的晾衣杆直接从阳台或窗台斜插到室外地面或下一层平台，两头固定好以后顺杆滑下。</a:t>
            </a:r>
            <a:endParaRPr sz="2000">
              <a:solidFill>
                <a:schemeClr val="dk1"/>
              </a:solidFill>
            </a:endParaRPr>
          </a:p>
          <a:p>
            <a:pPr>
              <a:lnSpc>
                <a:spcPct val="150000"/>
              </a:lnSpc>
            </a:pPr>
            <a:r>
              <a:rPr sz="2000">
                <a:solidFill>
                  <a:schemeClr val="dk1"/>
                </a:solidFill>
              </a:rPr>
              <a:t>十、攀爬避火法：通过攀爬阳台、窗口的外沿及建筑周围的脚手架、雨棚等突出物以躲避火势。</a:t>
            </a:r>
            <a:endParaRPr sz="2000">
              <a:solidFill>
                <a:schemeClr val="dk1"/>
              </a:solidFill>
            </a:endParaRPr>
          </a:p>
          <a:p>
            <a:pPr>
              <a:lnSpc>
                <a:spcPct val="150000"/>
              </a:lnSpc>
            </a:pPr>
            <a:r>
              <a:rPr sz="2000">
                <a:solidFill>
                  <a:schemeClr val="dk1"/>
                </a:solidFill>
              </a:rPr>
              <a:t>十一、楼梯转移法：当火势自下而上迅速蔓延而将楼梯封死时，住在上部楼层的居民可通过老虎窗、天窗等迅速爬到屋顶，转移到另一家或另一单元的楼梯进行疏散。</a:t>
            </a:r>
            <a:endParaRPr sz="2000">
              <a:solidFill>
                <a:schemeClr val="dk1"/>
              </a:solidFill>
            </a:endParaRPr>
          </a:p>
          <a:p>
            <a:pPr>
              <a:lnSpc>
                <a:spcPct val="150000"/>
              </a:lnSpc>
            </a:pP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10557510" cy="4707890"/>
          </a:xfrm>
          <a:prstGeom prst="rect">
            <a:avLst/>
          </a:prstGeom>
          <a:noFill/>
        </p:spPr>
        <p:txBody>
          <a:bodyPr wrap="square" rtlCol="0">
            <a:spAutoFit/>
          </a:bodyPr>
          <a:lstStyle/>
          <a:p>
            <a:pPr>
              <a:lnSpc>
                <a:spcPct val="150000"/>
              </a:lnSpc>
            </a:pPr>
            <a:r>
              <a:rPr sz="2000">
                <a:solidFill>
                  <a:schemeClr val="dk1"/>
                </a:solidFill>
              </a:rPr>
              <a:t>十二、卫生间避难法：当实在无路可逃时，可利用卫生间进行避难，用毛巾紧塞门缝，把水泼在地上降温，也可躺在放满水的浴缸里躲避。但千万不要钻到床底、阁楼、大橱等处避难，因为这些地方可燃物多，且容易聚集烟气。</a:t>
            </a:r>
            <a:endParaRPr sz="2000">
              <a:solidFill>
                <a:schemeClr val="dk1"/>
              </a:solidFill>
            </a:endParaRPr>
          </a:p>
          <a:p>
            <a:pPr>
              <a:lnSpc>
                <a:spcPct val="150000"/>
              </a:lnSpc>
            </a:pPr>
            <a:r>
              <a:rPr sz="2000">
                <a:solidFill>
                  <a:schemeClr val="dk1"/>
                </a:solidFill>
              </a:rPr>
              <a:t>十三、火场求救法：发生火灾时，可在窗口、阳台或屋顶处向外大声呼叫、敲击金属物品或投掷软物品，白天应挥动鲜艳布条发出求救信号，晚上可挥动手电筒或白布条引起救援人员的注意。</a:t>
            </a:r>
            <a:endParaRPr sz="2000">
              <a:solidFill>
                <a:schemeClr val="dk1"/>
              </a:solidFill>
            </a:endParaRPr>
          </a:p>
          <a:p>
            <a:pPr>
              <a:lnSpc>
                <a:spcPct val="150000"/>
              </a:lnSpc>
            </a:pPr>
            <a:r>
              <a:rPr sz="2000">
                <a:solidFill>
                  <a:schemeClr val="dk1"/>
                </a:solidFill>
              </a:rPr>
              <a:t>十四、逆风疏散法：应根据火灾发生时的风向来确定疏散方向，迅速逃到火场上风处躲避火焰和烟气。</a:t>
            </a:r>
            <a:endParaRPr sz="2000">
              <a:solidFill>
                <a:schemeClr val="dk1"/>
              </a:solidFill>
            </a:endParaRPr>
          </a:p>
          <a:p>
            <a:pPr>
              <a:lnSpc>
                <a:spcPct val="150000"/>
              </a:lnSpc>
            </a:pPr>
            <a:r>
              <a:rPr sz="2000">
                <a:solidFill>
                  <a:schemeClr val="dk1"/>
                </a:solidFill>
              </a:rPr>
              <a:t>十五、“搭桥”逃生法：可在阳台、窗台、屋顶平台处用木板、竹竿等较坚固的物体搭在相邻建筑，以此作为跳板过渡到相对安全的区域。</a:t>
            </a:r>
            <a:endParaRPr sz="2000">
              <a:solidFill>
                <a:schemeClr val="dk1"/>
              </a:solidFill>
            </a:endParaRPr>
          </a:p>
        </p:txBody>
      </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6"/>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7"/>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文本框 2"/>
            <p:cNvSpPr txBox="1"/>
            <p:nvPr>
              <p:custDataLst>
                <p:tags r:id="rId8"/>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火灾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9"/>
    </p:custDataLst>
  </p:cSld>
  <p:clrMapOvr>
    <a:masterClrMapping/>
  </p:clrMapOvr>
  <p:transition spd="slow">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880745"/>
            <a:ext cx="2948940" cy="922020"/>
          </a:xfrm>
          <a:prstGeom prst="rect">
            <a:avLst/>
          </a:prstGeom>
          <a:noFill/>
        </p:spPr>
        <p:txBody>
          <a:bodyPr wrap="square" rtlCol="0">
            <a:spAutoFit/>
          </a:bodyPr>
          <a:lstStyle/>
          <a:p>
            <a:pPr>
              <a:lnSpc>
                <a:spcPct val="150000"/>
              </a:lnSpc>
            </a:pPr>
            <a:r>
              <a:rPr lang="zh-CN" altLang="en-US" sz="3600" b="1">
                <a:solidFill>
                  <a:schemeClr val="lt1"/>
                </a:solidFill>
                <a:sym typeface="+mn-ea"/>
              </a:rPr>
              <a:t>遇险求救方法</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153015" cy="4246245"/>
          </a:xfrm>
          <a:prstGeom prst="rect">
            <a:avLst/>
          </a:prstGeom>
          <a:noFill/>
        </p:spPr>
        <p:txBody>
          <a:bodyPr wrap="square" rtlCol="0">
            <a:spAutoFit/>
          </a:bodyPr>
          <a:lstStyle/>
          <a:p>
            <a:pPr>
              <a:lnSpc>
                <a:spcPct val="150000"/>
              </a:lnSpc>
            </a:pPr>
            <a:r>
              <a:rPr sz="2000" dirty="0" err="1">
                <a:solidFill>
                  <a:schemeClr val="dk1"/>
                </a:solidFill>
              </a:rPr>
              <a:t>根据自身的情况和周围的环境条件，发出不同的求救信号。一般情况下</a:t>
            </a:r>
            <a:r>
              <a:rPr sz="2000" dirty="0">
                <a:solidFill>
                  <a:schemeClr val="dk1"/>
                </a:solidFill>
              </a:rPr>
              <a:t>，</a:t>
            </a:r>
            <a:r>
              <a:rPr sz="2000" dirty="0" err="1">
                <a:solidFill>
                  <a:schemeClr val="dk1"/>
                </a:solidFill>
              </a:rPr>
              <a:t>重复三次的行动都象征寻求援助</a:t>
            </a:r>
            <a:r>
              <a:rPr sz="2000" dirty="0">
                <a:solidFill>
                  <a:schemeClr val="dk1"/>
                </a:solidFill>
              </a:rPr>
              <a:t>。</a:t>
            </a:r>
            <a:endParaRPr sz="2000" dirty="0">
              <a:solidFill>
                <a:schemeClr val="dk1"/>
              </a:solidFill>
            </a:endParaRPr>
          </a:p>
          <a:p>
            <a:pPr>
              <a:lnSpc>
                <a:spcPct val="150000"/>
              </a:lnSpc>
            </a:pPr>
            <a:r>
              <a:rPr sz="2000" dirty="0">
                <a:solidFill>
                  <a:schemeClr val="dk1"/>
                </a:solidFill>
              </a:rPr>
              <a:t>（1）声响求救</a:t>
            </a:r>
            <a:r>
              <a:rPr sz="2000" dirty="0" err="1">
                <a:solidFill>
                  <a:schemeClr val="dk1"/>
                </a:solidFill>
              </a:rPr>
              <a:t>遇到危难时，除了喊叫求救外，还可以吹响哨子、击打脸盆、木棍敲打物品、斧头击打门窗或敲打其他能发声的金属器皿，甚至打碎玻璃等物品向周围发出求救信号</a:t>
            </a:r>
            <a:r>
              <a:rPr sz="2000" dirty="0">
                <a:solidFill>
                  <a:schemeClr val="dk1"/>
                </a:solidFill>
              </a:rPr>
              <a:t>。</a:t>
            </a:r>
            <a:endParaRPr sz="2000" dirty="0">
              <a:solidFill>
                <a:schemeClr val="dk1"/>
              </a:solidFill>
            </a:endParaRPr>
          </a:p>
          <a:p>
            <a:pPr>
              <a:lnSpc>
                <a:spcPct val="150000"/>
              </a:lnSpc>
            </a:pPr>
            <a:r>
              <a:rPr sz="2000" dirty="0">
                <a:solidFill>
                  <a:schemeClr val="dk1"/>
                </a:solidFill>
              </a:rPr>
              <a:t>（2）利用反光镜</a:t>
            </a:r>
            <a:r>
              <a:rPr sz="2000" dirty="0" err="1">
                <a:solidFill>
                  <a:schemeClr val="dk1"/>
                </a:solidFill>
              </a:rPr>
              <a:t>遇到危难时，利用回光反射信号，是最有效的办法。常见工具有手电筒以及可利用的能反光的物品如镜子、罐头皮、玻璃片、眼镜</a:t>
            </a:r>
            <a:r>
              <a:rPr sz="2000" dirty="0">
                <a:solidFill>
                  <a:schemeClr val="dk1"/>
                </a:solidFill>
              </a:rPr>
              <a:t>、</a:t>
            </a:r>
            <a:r>
              <a:rPr sz="2000" dirty="0" err="1">
                <a:solidFill>
                  <a:schemeClr val="dk1"/>
                </a:solidFill>
              </a:rPr>
              <a:t>回光仪等。每分钟闪照</a:t>
            </a:r>
            <a:r>
              <a:rPr sz="2000" dirty="0">
                <a:solidFill>
                  <a:schemeClr val="dk1"/>
                </a:solidFill>
              </a:rPr>
              <a:t>6</a:t>
            </a:r>
            <a:r>
              <a:rPr sz="2000" dirty="0" err="1">
                <a:solidFill>
                  <a:schemeClr val="dk1"/>
                </a:solidFill>
              </a:rPr>
              <a:t>次，停顿</a:t>
            </a:r>
            <a:r>
              <a:rPr sz="2000" dirty="0">
                <a:solidFill>
                  <a:schemeClr val="dk1"/>
                </a:solidFill>
              </a:rPr>
              <a:t>1</a:t>
            </a:r>
            <a:r>
              <a:rPr sz="2000" dirty="0" err="1">
                <a:solidFill>
                  <a:schemeClr val="dk1"/>
                </a:solidFill>
              </a:rPr>
              <a:t>分钟后，再重复进行</a:t>
            </a:r>
            <a:r>
              <a:rPr sz="2000" dirty="0">
                <a:solidFill>
                  <a:schemeClr val="dk1"/>
                </a:solidFill>
              </a:rPr>
              <a:t>。</a:t>
            </a:r>
            <a:endParaRPr sz="2000" dirty="0">
              <a:solidFill>
                <a:schemeClr val="dk1"/>
              </a:solidFill>
            </a:endParaRPr>
          </a:p>
          <a:p>
            <a:pPr>
              <a:lnSpc>
                <a:spcPct val="150000"/>
              </a:lnSpc>
            </a:pPr>
            <a:endParaRPr sz="2000" dirty="0">
              <a:solidFill>
                <a:schemeClr val="dk1"/>
              </a:solidFill>
            </a:endParaRPr>
          </a:p>
        </p:txBody>
      </p:sp>
    </p:spTree>
    <p:custDataLst>
      <p:tags r:id="rId12"/>
    </p:custData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effectLst>
                  <a:outerShdw blurRad="38100" dist="38100" dir="2700000" algn="tl">
                    <a:srgbClr val="000000">
                      <a:alpha val="43137"/>
                    </a:srgbClr>
                  </a:outerShdw>
                </a:effectLst>
              </a:rPr>
              <a:t>自然灾害</a:t>
            </a:r>
            <a:endParaRPr lang="zh-CN" altLang="en-US" sz="3600" b="1">
              <a:solidFill>
                <a:schemeClr val="lt1"/>
              </a:solidFill>
              <a:effectLst>
                <a:outerShdw blurRad="38100" dist="38100" dir="2700000" algn="tl">
                  <a:srgbClr val="000000">
                    <a:alpha val="43137"/>
                  </a:srgbClr>
                </a:outerShdw>
              </a:effectLst>
            </a:endParaRPr>
          </a:p>
        </p:txBody>
      </p:sp>
      <p:sp>
        <p:nvSpPr>
          <p:cNvPr id="3" name="文本框 2"/>
          <p:cNvSpPr txBox="1"/>
          <p:nvPr>
            <p:custDataLst>
              <p:tags r:id="rId7"/>
            </p:custDataLst>
          </p:nvPr>
        </p:nvSpPr>
        <p:spPr>
          <a:xfrm>
            <a:off x="704850" y="1770380"/>
            <a:ext cx="10502265" cy="3322955"/>
          </a:xfrm>
          <a:prstGeom prst="rect">
            <a:avLst/>
          </a:prstGeom>
          <a:noFill/>
        </p:spPr>
        <p:txBody>
          <a:bodyPr wrap="square" rtlCol="0">
            <a:spAutoFit/>
          </a:bodyPr>
          <a:lstStyle/>
          <a:p>
            <a:pPr>
              <a:lnSpc>
                <a:spcPct val="150000"/>
              </a:lnSpc>
            </a:pPr>
            <a:r>
              <a:rPr lang="zh-CN" altLang="en-US" sz="2000">
                <a:solidFill>
                  <a:schemeClr val="dk1"/>
                </a:solidFill>
                <a:latin typeface="+mn-ea"/>
                <a:cs typeface="+mn-ea"/>
              </a:rPr>
              <a:t>“自然灾害”是人类依赖的自然界中所发生的异常现象，自然灾害对人类社会所造成的危害往往是触目惊心的。它们之中既有地震、火山爆发、泥石流、海啸、台风、洪水等突发性灾害；也有地面沉降、土地沙漠化、干旱、海岸线变化等在较长时间中才能逐渐显现的渐变性灾害；还有臭氧层变化、水体污染、水土流失、酸雨等人类活动导致的环境灾害。这些自然灾害和环境破坏之间又有着复杂的相互联系。人类要从科学的意义上认识这些灾害的发生、发展以及尽可能减小它们所造成的危害。为此，我们应做好对自然灾害的预测与自我救助的工作。</a:t>
            </a:r>
            <a:endParaRPr lang="zh-CN" altLang="en-US" sz="2000">
              <a:solidFill>
                <a:schemeClr val="dk1"/>
              </a:solidFill>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8"/>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9"/>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10"/>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1"/>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26" name="组合 25"/>
          <p:cNvGrpSpPr/>
          <p:nvPr/>
        </p:nvGrpSpPr>
        <p:grpSpPr>
          <a:xfrm>
            <a:off x="814705" y="5219065"/>
            <a:ext cx="2228850" cy="1080135"/>
            <a:chOff x="1283" y="8021"/>
            <a:chExt cx="3510" cy="1701"/>
          </a:xfrm>
        </p:grpSpPr>
        <p:sp>
          <p:nvSpPr>
            <p:cNvPr id="5" name="任意多边形 4"/>
            <p:cNvSpPr/>
            <p:nvPr>
              <p:custDataLst>
                <p:tags r:id="rId12"/>
              </p:custDataLst>
            </p:nvPr>
          </p:nvSpPr>
          <p:spPr>
            <a:xfrm>
              <a:off x="1283" y="8760"/>
              <a:ext cx="3510" cy="963"/>
            </a:xfrm>
            <a:custGeom>
              <a:avLst/>
              <a:gdLst>
                <a:gd name="connsiteX0" fmla="*/ 0 w 3510"/>
                <a:gd name="connsiteY0" fmla="*/ 0 h 963"/>
                <a:gd name="connsiteX1" fmla="*/ 526 w 3510"/>
                <a:gd name="connsiteY1" fmla="*/ 0 h 963"/>
                <a:gd name="connsiteX2" fmla="*/ 1053 w 3510"/>
                <a:gd name="connsiteY2" fmla="*/ 92 h 963"/>
                <a:gd name="connsiteX3" fmla="*/ 1741 w 3510"/>
                <a:gd name="connsiteY3" fmla="*/ 229 h 963"/>
                <a:gd name="connsiteX4" fmla="*/ 2865 w 3510"/>
                <a:gd name="connsiteY4" fmla="*/ 23 h 963"/>
                <a:gd name="connsiteX5" fmla="*/ 3510 w 3510"/>
                <a:gd name="connsiteY5" fmla="*/ 0 h 963"/>
                <a:gd name="connsiteX6" fmla="*/ 3510 w 3510"/>
                <a:gd name="connsiteY6" fmla="*/ 963 h 963"/>
                <a:gd name="connsiteX7" fmla="*/ 0 w 3510"/>
                <a:gd name="connsiteY7" fmla="*/ 963 h 963"/>
                <a:gd name="connsiteX8" fmla="*/ 0 w 3510"/>
                <a:gd name="connsiteY8" fmla="*/ 0 h 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10" h="963">
                  <a:moveTo>
                    <a:pt x="0" y="0"/>
                  </a:moveTo>
                  <a:lnTo>
                    <a:pt x="526" y="0"/>
                  </a:lnTo>
                  <a:lnTo>
                    <a:pt x="1053" y="92"/>
                  </a:lnTo>
                  <a:lnTo>
                    <a:pt x="1741" y="229"/>
                  </a:lnTo>
                  <a:lnTo>
                    <a:pt x="2865" y="23"/>
                  </a:lnTo>
                  <a:lnTo>
                    <a:pt x="3510" y="0"/>
                  </a:lnTo>
                  <a:lnTo>
                    <a:pt x="3510" y="963"/>
                  </a:lnTo>
                  <a:lnTo>
                    <a:pt x="0" y="963"/>
                  </a:lnTo>
                  <a:lnTo>
                    <a:pt x="0" y="0"/>
                  </a:lnTo>
                  <a:close/>
                </a:path>
              </a:pathLst>
            </a:custGeom>
            <a:pattFill prst="shingle">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5" name="组合 24"/>
            <p:cNvGrpSpPr/>
            <p:nvPr/>
          </p:nvGrpSpPr>
          <p:grpSpPr>
            <a:xfrm rot="660000">
              <a:off x="1739" y="8021"/>
              <a:ext cx="1446" cy="853"/>
              <a:chOff x="6832" y="8414"/>
              <a:chExt cx="1446" cy="853"/>
            </a:xfrm>
          </p:grpSpPr>
          <p:sp>
            <p:nvSpPr>
              <p:cNvPr id="14" name="圆角矩形 13"/>
              <p:cNvSpPr/>
              <p:nvPr>
                <p:custDataLst>
                  <p:tags r:id="rId13"/>
                </p:custDataLst>
              </p:nvPr>
            </p:nvSpPr>
            <p:spPr>
              <a:xfrm>
                <a:off x="6832" y="8783"/>
                <a:ext cx="1446" cy="298"/>
              </a:xfrm>
              <a:prstGeom prst="roundRect">
                <a:avLst>
                  <a:gd name="adj" fmla="val 50000"/>
                </a:avLst>
              </a:prstGeom>
              <a:solidFill>
                <a:schemeClr val="dk1">
                  <a:lumMod val="50000"/>
                  <a:lumOff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同心圆 21"/>
              <p:cNvSpPr/>
              <p:nvPr>
                <p:custDataLst>
                  <p:tags r:id="rId14"/>
                </p:custDataLst>
              </p:nvPr>
            </p:nvSpPr>
            <p:spPr>
              <a:xfrm>
                <a:off x="7062" y="8901"/>
                <a:ext cx="367" cy="367"/>
              </a:xfrm>
              <a:prstGeom prst="donut">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23" name="同心圆 22"/>
              <p:cNvSpPr/>
              <p:nvPr>
                <p:custDataLst>
                  <p:tags r:id="rId15"/>
                </p:custDataLst>
              </p:nvPr>
            </p:nvSpPr>
            <p:spPr>
              <a:xfrm>
                <a:off x="7666" y="8901"/>
                <a:ext cx="367" cy="367"/>
              </a:xfrm>
              <a:prstGeom prst="donut">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24" name="流程图: 手动输入 23"/>
              <p:cNvSpPr/>
              <p:nvPr>
                <p:custDataLst>
                  <p:tags r:id="rId16"/>
                </p:custDataLst>
              </p:nvPr>
            </p:nvSpPr>
            <p:spPr>
              <a:xfrm rot="5400000">
                <a:off x="7504" y="8254"/>
                <a:ext cx="369" cy="688"/>
              </a:xfrm>
              <a:prstGeom prst="flowChartManualInput">
                <a:avLst/>
              </a:prstGeom>
              <a:solidFill>
                <a:schemeClr val="lt2">
                  <a:lumMod val="75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70" name="组合 69"/>
          <p:cNvGrpSpPr/>
          <p:nvPr/>
        </p:nvGrpSpPr>
        <p:grpSpPr>
          <a:xfrm>
            <a:off x="3491865" y="5013325"/>
            <a:ext cx="2228850" cy="1324610"/>
            <a:chOff x="5690" y="7895"/>
            <a:chExt cx="3510" cy="2086"/>
          </a:xfrm>
        </p:grpSpPr>
        <p:sp>
          <p:nvSpPr>
            <p:cNvPr id="27" name="任意多边形 26"/>
            <p:cNvSpPr/>
            <p:nvPr>
              <p:custDataLst>
                <p:tags r:id="rId17"/>
              </p:custDataLst>
            </p:nvPr>
          </p:nvSpPr>
          <p:spPr>
            <a:xfrm>
              <a:off x="5690" y="8829"/>
              <a:ext cx="3510" cy="1153"/>
            </a:xfrm>
            <a:custGeom>
              <a:avLst/>
              <a:gdLst>
                <a:gd name="connsiteX0" fmla="*/ 0 w 3510"/>
                <a:gd name="connsiteY0" fmla="*/ 190 h 1153"/>
                <a:gd name="connsiteX1" fmla="*/ 526 w 3510"/>
                <a:gd name="connsiteY1" fmla="*/ 190 h 1153"/>
                <a:gd name="connsiteX2" fmla="*/ 1147 w 3510"/>
                <a:gd name="connsiteY2" fmla="*/ 80 h 1153"/>
                <a:gd name="connsiteX3" fmla="*/ 1326 w 3510"/>
                <a:gd name="connsiteY3" fmla="*/ 734 h 1153"/>
                <a:gd name="connsiteX4" fmla="*/ 1647 w 3510"/>
                <a:gd name="connsiteY4" fmla="*/ 1072 h 1153"/>
                <a:gd name="connsiteX5" fmla="*/ 1474 w 3510"/>
                <a:gd name="connsiteY5" fmla="*/ 468 h 1153"/>
                <a:gd name="connsiteX6" fmla="*/ 1716 w 3510"/>
                <a:gd name="connsiteY6" fmla="*/ 0 h 1153"/>
                <a:gd name="connsiteX7" fmla="*/ 2865 w 3510"/>
                <a:gd name="connsiteY7" fmla="*/ 213 h 1153"/>
                <a:gd name="connsiteX8" fmla="*/ 3510 w 3510"/>
                <a:gd name="connsiteY8" fmla="*/ 190 h 1153"/>
                <a:gd name="connsiteX9" fmla="*/ 3510 w 3510"/>
                <a:gd name="connsiteY9" fmla="*/ 1153 h 1153"/>
                <a:gd name="connsiteX10" fmla="*/ 0 w 3510"/>
                <a:gd name="connsiteY10" fmla="*/ 1153 h 1153"/>
                <a:gd name="connsiteX11" fmla="*/ 0 w 3510"/>
                <a:gd name="connsiteY11" fmla="*/ 190 h 1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10" h="1153">
                  <a:moveTo>
                    <a:pt x="0" y="190"/>
                  </a:moveTo>
                  <a:lnTo>
                    <a:pt x="526" y="190"/>
                  </a:lnTo>
                  <a:lnTo>
                    <a:pt x="1147" y="80"/>
                  </a:lnTo>
                  <a:lnTo>
                    <a:pt x="1326" y="734"/>
                  </a:lnTo>
                  <a:lnTo>
                    <a:pt x="1647" y="1072"/>
                  </a:lnTo>
                  <a:lnTo>
                    <a:pt x="1474" y="468"/>
                  </a:lnTo>
                  <a:lnTo>
                    <a:pt x="1716" y="0"/>
                  </a:lnTo>
                  <a:lnTo>
                    <a:pt x="2865" y="213"/>
                  </a:lnTo>
                  <a:lnTo>
                    <a:pt x="3510" y="190"/>
                  </a:lnTo>
                  <a:lnTo>
                    <a:pt x="3510" y="1153"/>
                  </a:lnTo>
                  <a:lnTo>
                    <a:pt x="0" y="1153"/>
                  </a:lnTo>
                  <a:lnTo>
                    <a:pt x="0" y="190"/>
                  </a:lnTo>
                  <a:close/>
                </a:path>
              </a:pathLst>
            </a:custGeom>
            <a:pattFill prst="shingle">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33" name="组合 32"/>
            <p:cNvGrpSpPr/>
            <p:nvPr/>
          </p:nvGrpSpPr>
          <p:grpSpPr>
            <a:xfrm>
              <a:off x="7664" y="7895"/>
              <a:ext cx="869" cy="1108"/>
              <a:chOff x="7664" y="7895"/>
              <a:chExt cx="869" cy="1108"/>
            </a:xfrm>
            <a:solidFill>
              <a:schemeClr val="bg2">
                <a:lumMod val="50000"/>
              </a:schemeClr>
            </a:solidFill>
          </p:grpSpPr>
          <p:sp>
            <p:nvSpPr>
              <p:cNvPr id="28" name="图文框 27"/>
              <p:cNvSpPr/>
              <p:nvPr>
                <p:custDataLst>
                  <p:tags r:id="rId18"/>
                </p:custDataLst>
              </p:nvPr>
            </p:nvSpPr>
            <p:spPr>
              <a:xfrm rot="600000">
                <a:off x="7664" y="8582"/>
                <a:ext cx="520"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0" name="图文框 29"/>
              <p:cNvSpPr/>
              <p:nvPr>
                <p:custDataLst>
                  <p:tags r:id="rId19"/>
                </p:custDataLst>
              </p:nvPr>
            </p:nvSpPr>
            <p:spPr>
              <a:xfrm rot="600000">
                <a:off x="7722" y="8239"/>
                <a:ext cx="520"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1" name="图文框 30"/>
              <p:cNvSpPr/>
              <p:nvPr>
                <p:custDataLst>
                  <p:tags r:id="rId20"/>
                </p:custDataLst>
              </p:nvPr>
            </p:nvSpPr>
            <p:spPr>
              <a:xfrm rot="600000">
                <a:off x="7934" y="7895"/>
                <a:ext cx="368"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2" name="图文框 31"/>
              <p:cNvSpPr/>
              <p:nvPr>
                <p:custDataLst>
                  <p:tags r:id="rId21"/>
                </p:custDataLst>
              </p:nvPr>
            </p:nvSpPr>
            <p:spPr>
              <a:xfrm rot="600000">
                <a:off x="8165" y="8657"/>
                <a:ext cx="368" cy="347"/>
              </a:xfrm>
              <a:prstGeom prst="frame">
                <a:avLst>
                  <a:gd name="adj1" fmla="val 29971"/>
                </a:avLst>
              </a:prstGeom>
              <a:solidFill>
                <a:schemeClr val="lt2">
                  <a:lumMod val="50000"/>
                </a:schemeClr>
              </a:solidFill>
              <a:ln>
                <a:solidFill>
                  <a:schemeClr val="dk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36" name="组合 35"/>
            <p:cNvGrpSpPr/>
            <p:nvPr/>
          </p:nvGrpSpPr>
          <p:grpSpPr>
            <a:xfrm rot="21060000">
              <a:off x="5764" y="8270"/>
              <a:ext cx="931" cy="868"/>
              <a:chOff x="5520" y="8123"/>
              <a:chExt cx="931" cy="868"/>
            </a:xfrm>
          </p:grpSpPr>
          <p:sp>
            <p:nvSpPr>
              <p:cNvPr id="34" name="任意多边形 33"/>
              <p:cNvSpPr/>
              <p:nvPr>
                <p:custDataLst>
                  <p:tags r:id="rId22"/>
                </p:custDataLst>
              </p:nvPr>
            </p:nvSpPr>
            <p:spPr>
              <a:xfrm>
                <a:off x="5520" y="8123"/>
                <a:ext cx="758" cy="593"/>
              </a:xfrm>
              <a:custGeom>
                <a:avLst/>
                <a:gdLst>
                  <a:gd name="connisteX0" fmla="*/ 306184 w 481546"/>
                  <a:gd name="connsiteY0" fmla="*/ 350158 h 376599"/>
                  <a:gd name="connisteX1" fmla="*/ 99174 w 481546"/>
                  <a:gd name="connsiteY1" fmla="*/ 362858 h 376599"/>
                  <a:gd name="connisteX2" fmla="*/ 183629 w 481546"/>
                  <a:gd name="connsiteY2" fmla="*/ 226968 h 376599"/>
                  <a:gd name="connisteX3" fmla="*/ 2019 w 481546"/>
                  <a:gd name="connsiteY3" fmla="*/ 149498 h 376599"/>
                  <a:gd name="connisteX4" fmla="*/ 99174 w 481546"/>
                  <a:gd name="connsiteY4" fmla="*/ 84728 h 376599"/>
                  <a:gd name="connisteX5" fmla="*/ 86474 w 481546"/>
                  <a:gd name="connsiteY5" fmla="*/ 12973 h 376599"/>
                  <a:gd name="connisteX6" fmla="*/ 209029 w 481546"/>
                  <a:gd name="connsiteY6" fmla="*/ 65043 h 376599"/>
                  <a:gd name="connisteX7" fmla="*/ 235064 w 481546"/>
                  <a:gd name="connsiteY7" fmla="*/ 273 h 376599"/>
                  <a:gd name="connisteX8" fmla="*/ 299834 w 481546"/>
                  <a:gd name="connsiteY8" fmla="*/ 91078 h 376599"/>
                  <a:gd name="connisteX9" fmla="*/ 410324 w 481546"/>
                  <a:gd name="connsiteY9" fmla="*/ 84728 h 376599"/>
                  <a:gd name="connisteX10" fmla="*/ 332219 w 481546"/>
                  <a:gd name="connsiteY10" fmla="*/ 168548 h 376599"/>
                  <a:gd name="connisteX11" fmla="*/ 436359 w 481546"/>
                  <a:gd name="connsiteY11" fmla="*/ 175533 h 376599"/>
                  <a:gd name="connisteX12" fmla="*/ 371589 w 481546"/>
                  <a:gd name="connsiteY12" fmla="*/ 233318 h 376599"/>
                  <a:gd name="connisteX13" fmla="*/ 481444 w 481546"/>
                  <a:gd name="connsiteY13" fmla="*/ 272688 h 376599"/>
                  <a:gd name="connisteX14" fmla="*/ 351904 w 481546"/>
                  <a:gd name="connsiteY14" fmla="*/ 330473 h 376599"/>
                  <a:gd name="connisteX15" fmla="*/ 319519 w 481546"/>
                  <a:gd name="connsiteY15" fmla="*/ 200933 h 376599"/>
                  <a:gd name="connisteX16" fmla="*/ 216014 w 481546"/>
                  <a:gd name="connsiteY16" fmla="*/ 117113 h 376599"/>
                  <a:gd name="connisteX17" fmla="*/ 183629 w 481546"/>
                  <a:gd name="connsiteY17" fmla="*/ 117113 h 376599"/>
                  <a:gd name="connisteX18" fmla="*/ 261099 w 481546"/>
                  <a:gd name="connsiteY18" fmla="*/ 233318 h 376599"/>
                  <a:gd name="connisteX19" fmla="*/ 306184 w 481546"/>
                  <a:gd name="connsiteY19" fmla="*/ 350158 h 376599"/>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 ang="0">
                    <a:pos x="connisteX19" y="connsiteY19"/>
                  </a:cxn>
                </a:cxnLst>
                <a:rect l="l" t="t" r="r" b="b"/>
                <a:pathLst>
                  <a:path w="481546" h="376599">
                    <a:moveTo>
                      <a:pt x="306185" y="350159"/>
                    </a:moveTo>
                    <a:cubicBezTo>
                      <a:pt x="273800" y="376194"/>
                      <a:pt x="123940" y="387624"/>
                      <a:pt x="99175" y="362859"/>
                    </a:cubicBezTo>
                    <a:cubicBezTo>
                      <a:pt x="74410" y="338094"/>
                      <a:pt x="203315" y="269514"/>
                      <a:pt x="183630" y="226969"/>
                    </a:cubicBezTo>
                    <a:cubicBezTo>
                      <a:pt x="163945" y="184424"/>
                      <a:pt x="19165" y="178074"/>
                      <a:pt x="2020" y="149499"/>
                    </a:cubicBezTo>
                    <a:cubicBezTo>
                      <a:pt x="-15125" y="120924"/>
                      <a:pt x="82030" y="112034"/>
                      <a:pt x="99175" y="84729"/>
                    </a:cubicBezTo>
                    <a:cubicBezTo>
                      <a:pt x="116320" y="57424"/>
                      <a:pt x="64250" y="16784"/>
                      <a:pt x="86475" y="12974"/>
                    </a:cubicBezTo>
                    <a:cubicBezTo>
                      <a:pt x="108700" y="9164"/>
                      <a:pt x="179185" y="67584"/>
                      <a:pt x="209030" y="65044"/>
                    </a:cubicBezTo>
                    <a:cubicBezTo>
                      <a:pt x="238875" y="62504"/>
                      <a:pt x="216650" y="-4806"/>
                      <a:pt x="235065" y="274"/>
                    </a:cubicBezTo>
                    <a:cubicBezTo>
                      <a:pt x="253480" y="5354"/>
                      <a:pt x="264910" y="73934"/>
                      <a:pt x="299835" y="91079"/>
                    </a:cubicBezTo>
                    <a:cubicBezTo>
                      <a:pt x="334760" y="108224"/>
                      <a:pt x="403975" y="69489"/>
                      <a:pt x="410325" y="84729"/>
                    </a:cubicBezTo>
                    <a:cubicBezTo>
                      <a:pt x="416675" y="99969"/>
                      <a:pt x="327140" y="150134"/>
                      <a:pt x="332220" y="168549"/>
                    </a:cubicBezTo>
                    <a:cubicBezTo>
                      <a:pt x="337300" y="186964"/>
                      <a:pt x="428740" y="162834"/>
                      <a:pt x="436360" y="175534"/>
                    </a:cubicBezTo>
                    <a:cubicBezTo>
                      <a:pt x="443980" y="188234"/>
                      <a:pt x="362700" y="213634"/>
                      <a:pt x="371590" y="233319"/>
                    </a:cubicBezTo>
                    <a:cubicBezTo>
                      <a:pt x="380480" y="253004"/>
                      <a:pt x="485255" y="253004"/>
                      <a:pt x="481445" y="272689"/>
                    </a:cubicBezTo>
                    <a:cubicBezTo>
                      <a:pt x="477635" y="292374"/>
                      <a:pt x="384290" y="345079"/>
                      <a:pt x="351905" y="330474"/>
                    </a:cubicBezTo>
                    <a:cubicBezTo>
                      <a:pt x="319520" y="315869"/>
                      <a:pt x="346825" y="243479"/>
                      <a:pt x="319520" y="200934"/>
                    </a:cubicBezTo>
                    <a:cubicBezTo>
                      <a:pt x="292215" y="158389"/>
                      <a:pt x="243320" y="133624"/>
                      <a:pt x="216015" y="117114"/>
                    </a:cubicBezTo>
                    <a:cubicBezTo>
                      <a:pt x="188710" y="100604"/>
                      <a:pt x="174740" y="93619"/>
                      <a:pt x="183630" y="117114"/>
                    </a:cubicBezTo>
                    <a:cubicBezTo>
                      <a:pt x="192520" y="140609"/>
                      <a:pt x="236335" y="186964"/>
                      <a:pt x="261100" y="233319"/>
                    </a:cubicBezTo>
                    <a:cubicBezTo>
                      <a:pt x="285865" y="279674"/>
                      <a:pt x="338570" y="324124"/>
                      <a:pt x="306185" y="350159"/>
                    </a:cubicBezTo>
                    <a:close/>
                  </a:path>
                </a:pathLst>
              </a:cu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任意多边形 34"/>
              <p:cNvSpPr/>
              <p:nvPr>
                <p:custDataLst>
                  <p:tags r:id="rId23"/>
                </p:custDataLst>
              </p:nvPr>
            </p:nvSpPr>
            <p:spPr>
              <a:xfrm>
                <a:off x="5839" y="8335"/>
                <a:ext cx="612" cy="656"/>
              </a:xfrm>
              <a:custGeom>
                <a:avLst/>
                <a:gdLst>
                  <a:gd name="connisteX0" fmla="*/ 158 w 388936"/>
                  <a:gd name="connsiteY0" fmla="*/ 8550 h 416250"/>
                  <a:gd name="connisteX1" fmla="*/ 110648 w 388936"/>
                  <a:gd name="connsiteY1" fmla="*/ 183175 h 416250"/>
                  <a:gd name="connisteX2" fmla="*/ 155733 w 388936"/>
                  <a:gd name="connsiteY2" fmla="*/ 332400 h 416250"/>
                  <a:gd name="connisteX3" fmla="*/ 162083 w 388936"/>
                  <a:gd name="connsiteY3" fmla="*/ 416220 h 416250"/>
                  <a:gd name="connisteX4" fmla="*/ 194468 w 388936"/>
                  <a:gd name="connsiteY4" fmla="*/ 326050 h 416250"/>
                  <a:gd name="connisteX5" fmla="*/ 233838 w 388936"/>
                  <a:gd name="connsiteY5" fmla="*/ 409870 h 416250"/>
                  <a:gd name="connisteX6" fmla="*/ 220503 w 388936"/>
                  <a:gd name="connsiteY6" fmla="*/ 312715 h 416250"/>
                  <a:gd name="connisteX7" fmla="*/ 343693 w 388936"/>
                  <a:gd name="connsiteY7" fmla="*/ 383835 h 416250"/>
                  <a:gd name="connisteX8" fmla="*/ 266223 w 388936"/>
                  <a:gd name="connsiteY8" fmla="*/ 293665 h 416250"/>
                  <a:gd name="connisteX9" fmla="*/ 388778 w 388936"/>
                  <a:gd name="connsiteY9" fmla="*/ 300015 h 416250"/>
                  <a:gd name="connisteX10" fmla="*/ 240188 w 388936"/>
                  <a:gd name="connsiteY10" fmla="*/ 247945 h 416250"/>
                  <a:gd name="connisteX11" fmla="*/ 382428 w 388936"/>
                  <a:gd name="connsiteY11" fmla="*/ 267630 h 416250"/>
                  <a:gd name="connisteX12" fmla="*/ 252888 w 388936"/>
                  <a:gd name="connsiteY12" fmla="*/ 221910 h 416250"/>
                  <a:gd name="connisteX13" fmla="*/ 188118 w 388936"/>
                  <a:gd name="connsiteY13" fmla="*/ 228260 h 416250"/>
                  <a:gd name="connisteX14" fmla="*/ 143033 w 388936"/>
                  <a:gd name="connsiteY14" fmla="*/ 170475 h 416250"/>
                  <a:gd name="connisteX15" fmla="*/ 90963 w 388936"/>
                  <a:gd name="connsiteY15" fmla="*/ 53635 h 416250"/>
                  <a:gd name="connisteX16" fmla="*/ 158 w 388936"/>
                  <a:gd name="connsiteY16" fmla="*/ 8550 h 41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Lst>
                <a:rect l="l" t="t" r="r" b="b"/>
                <a:pathLst>
                  <a:path w="388936" h="416251">
                    <a:moveTo>
                      <a:pt x="158" y="8550"/>
                    </a:moveTo>
                    <a:cubicBezTo>
                      <a:pt x="3968" y="34585"/>
                      <a:pt x="79533" y="118405"/>
                      <a:pt x="110648" y="183175"/>
                    </a:cubicBezTo>
                    <a:cubicBezTo>
                      <a:pt x="141763" y="247945"/>
                      <a:pt x="145573" y="286045"/>
                      <a:pt x="155733" y="332400"/>
                    </a:cubicBezTo>
                    <a:cubicBezTo>
                      <a:pt x="165893" y="378755"/>
                      <a:pt x="154463" y="417490"/>
                      <a:pt x="162083" y="416220"/>
                    </a:cubicBezTo>
                    <a:cubicBezTo>
                      <a:pt x="169703" y="414950"/>
                      <a:pt x="179863" y="327320"/>
                      <a:pt x="194468" y="326050"/>
                    </a:cubicBezTo>
                    <a:cubicBezTo>
                      <a:pt x="209073" y="324780"/>
                      <a:pt x="228758" y="412410"/>
                      <a:pt x="233838" y="409870"/>
                    </a:cubicBezTo>
                    <a:cubicBezTo>
                      <a:pt x="238918" y="407330"/>
                      <a:pt x="198278" y="317795"/>
                      <a:pt x="220503" y="312715"/>
                    </a:cubicBezTo>
                    <a:cubicBezTo>
                      <a:pt x="242728" y="307635"/>
                      <a:pt x="334803" y="387645"/>
                      <a:pt x="343693" y="383835"/>
                    </a:cubicBezTo>
                    <a:cubicBezTo>
                      <a:pt x="352583" y="380025"/>
                      <a:pt x="257333" y="310175"/>
                      <a:pt x="266223" y="293665"/>
                    </a:cubicBezTo>
                    <a:cubicBezTo>
                      <a:pt x="275113" y="277155"/>
                      <a:pt x="393858" y="308905"/>
                      <a:pt x="388778" y="300015"/>
                    </a:cubicBezTo>
                    <a:cubicBezTo>
                      <a:pt x="383698" y="291125"/>
                      <a:pt x="241458" y="254295"/>
                      <a:pt x="240188" y="247945"/>
                    </a:cubicBezTo>
                    <a:cubicBezTo>
                      <a:pt x="238918" y="241595"/>
                      <a:pt x="379888" y="272710"/>
                      <a:pt x="382428" y="267630"/>
                    </a:cubicBezTo>
                    <a:cubicBezTo>
                      <a:pt x="384968" y="262550"/>
                      <a:pt x="291623" y="229530"/>
                      <a:pt x="252888" y="221910"/>
                    </a:cubicBezTo>
                    <a:cubicBezTo>
                      <a:pt x="214153" y="214290"/>
                      <a:pt x="210343" y="238420"/>
                      <a:pt x="188118" y="228260"/>
                    </a:cubicBezTo>
                    <a:cubicBezTo>
                      <a:pt x="165893" y="218100"/>
                      <a:pt x="162718" y="205400"/>
                      <a:pt x="143033" y="170475"/>
                    </a:cubicBezTo>
                    <a:cubicBezTo>
                      <a:pt x="123348" y="135550"/>
                      <a:pt x="119538" y="86020"/>
                      <a:pt x="90963" y="53635"/>
                    </a:cubicBezTo>
                    <a:cubicBezTo>
                      <a:pt x="62388" y="21250"/>
                      <a:pt x="-3652" y="-17485"/>
                      <a:pt x="158" y="8550"/>
                    </a:cubicBezTo>
                    <a:close/>
                  </a:path>
                </a:pathLst>
              </a:custGeom>
              <a:solidFill>
                <a:schemeClr val="accent4">
                  <a:lumMod val="50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71" name="组合 70"/>
          <p:cNvGrpSpPr/>
          <p:nvPr/>
        </p:nvGrpSpPr>
        <p:grpSpPr>
          <a:xfrm>
            <a:off x="6169025" y="4750435"/>
            <a:ext cx="2228850" cy="1588135"/>
            <a:chOff x="9896" y="7481"/>
            <a:chExt cx="3510" cy="2501"/>
          </a:xfrm>
        </p:grpSpPr>
        <p:sp>
          <p:nvSpPr>
            <p:cNvPr id="46" name="任意多边形 45"/>
            <p:cNvSpPr/>
            <p:nvPr>
              <p:custDataLst>
                <p:tags r:id="rId24"/>
              </p:custDataLst>
            </p:nvPr>
          </p:nvSpPr>
          <p:spPr>
            <a:xfrm>
              <a:off x="11034" y="7481"/>
              <a:ext cx="2252" cy="1972"/>
            </a:xfrm>
            <a:custGeom>
              <a:avLst/>
              <a:gdLst>
                <a:gd name="connsiteX0" fmla="*/ 1418 w 2252"/>
                <a:gd name="connsiteY0" fmla="*/ 128 h 1971"/>
                <a:gd name="connsiteX1" fmla="*/ 1068 w 2252"/>
                <a:gd name="connsiteY1" fmla="*/ 412 h 1971"/>
                <a:gd name="connsiteX2" fmla="*/ 806 w 2252"/>
                <a:gd name="connsiteY2" fmla="*/ 652 h 1971"/>
                <a:gd name="connsiteX3" fmla="*/ 580 w 2252"/>
                <a:gd name="connsiteY3" fmla="*/ 972 h 1971"/>
                <a:gd name="connsiteX4" fmla="*/ 478 w 2252"/>
                <a:gd name="connsiteY4" fmla="*/ 1198 h 1971"/>
                <a:gd name="connsiteX5" fmla="*/ 340 w 2252"/>
                <a:gd name="connsiteY5" fmla="*/ 1358 h 1971"/>
                <a:gd name="connsiteX6" fmla="*/ 85 w 2252"/>
                <a:gd name="connsiteY6" fmla="*/ 1409 h 1971"/>
                <a:gd name="connsiteX7" fmla="*/ 42 w 2252"/>
                <a:gd name="connsiteY7" fmla="*/ 1504 h 1971"/>
                <a:gd name="connsiteX8" fmla="*/ 5 w 2252"/>
                <a:gd name="connsiteY8" fmla="*/ 1817 h 1971"/>
                <a:gd name="connsiteX9" fmla="*/ 136 w 2252"/>
                <a:gd name="connsiteY9" fmla="*/ 1963 h 1971"/>
                <a:gd name="connsiteX10" fmla="*/ 289 w 2252"/>
                <a:gd name="connsiteY10" fmla="*/ 1912 h 1971"/>
                <a:gd name="connsiteX11" fmla="*/ 391 w 2252"/>
                <a:gd name="connsiteY11" fmla="*/ 1657 h 1971"/>
                <a:gd name="connsiteX12" fmla="*/ 660 w 2252"/>
                <a:gd name="connsiteY12" fmla="*/ 1263 h 1971"/>
                <a:gd name="connsiteX13" fmla="*/ 821 w 2252"/>
                <a:gd name="connsiteY13" fmla="*/ 936 h 1971"/>
                <a:gd name="connsiteX14" fmla="*/ 1141 w 2252"/>
                <a:gd name="connsiteY14" fmla="*/ 717 h 1971"/>
                <a:gd name="connsiteX15" fmla="*/ 1352 w 2252"/>
                <a:gd name="connsiteY15" fmla="*/ 433 h 1971"/>
                <a:gd name="connsiteX16" fmla="*/ 1367 w 2252"/>
                <a:gd name="connsiteY16" fmla="*/ 331 h 1971"/>
                <a:gd name="connsiteX17" fmla="*/ 2235 w 2252"/>
                <a:gd name="connsiteY17" fmla="*/ 179 h 1971"/>
                <a:gd name="connsiteX18" fmla="*/ 2147 w 2252"/>
                <a:gd name="connsiteY18" fmla="*/ 4 h 1971"/>
                <a:gd name="connsiteX19" fmla="*/ 1491 w 2252"/>
                <a:gd name="connsiteY19" fmla="*/ 77 h 1971"/>
                <a:gd name="connsiteX20" fmla="*/ 1418 w 2252"/>
                <a:gd name="connsiteY20" fmla="*/ 128 h 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2" h="1972">
                  <a:moveTo>
                    <a:pt x="1418" y="128"/>
                  </a:moveTo>
                  <a:cubicBezTo>
                    <a:pt x="1333" y="195"/>
                    <a:pt x="1190" y="307"/>
                    <a:pt x="1068" y="412"/>
                  </a:cubicBezTo>
                  <a:cubicBezTo>
                    <a:pt x="946" y="517"/>
                    <a:pt x="904" y="540"/>
                    <a:pt x="806" y="652"/>
                  </a:cubicBezTo>
                  <a:cubicBezTo>
                    <a:pt x="708" y="764"/>
                    <a:pt x="646" y="863"/>
                    <a:pt x="580" y="972"/>
                  </a:cubicBezTo>
                  <a:cubicBezTo>
                    <a:pt x="514" y="1081"/>
                    <a:pt x="526" y="1121"/>
                    <a:pt x="478" y="1198"/>
                  </a:cubicBezTo>
                  <a:cubicBezTo>
                    <a:pt x="430" y="1275"/>
                    <a:pt x="419" y="1316"/>
                    <a:pt x="340" y="1358"/>
                  </a:cubicBezTo>
                  <a:cubicBezTo>
                    <a:pt x="261" y="1400"/>
                    <a:pt x="145" y="1380"/>
                    <a:pt x="85" y="1409"/>
                  </a:cubicBezTo>
                  <a:cubicBezTo>
                    <a:pt x="25" y="1438"/>
                    <a:pt x="58" y="1422"/>
                    <a:pt x="42" y="1504"/>
                  </a:cubicBezTo>
                  <a:cubicBezTo>
                    <a:pt x="26" y="1586"/>
                    <a:pt x="-14" y="1725"/>
                    <a:pt x="5" y="1817"/>
                  </a:cubicBezTo>
                  <a:cubicBezTo>
                    <a:pt x="24" y="1909"/>
                    <a:pt x="79" y="1944"/>
                    <a:pt x="136" y="1963"/>
                  </a:cubicBezTo>
                  <a:cubicBezTo>
                    <a:pt x="193" y="1982"/>
                    <a:pt x="238" y="1973"/>
                    <a:pt x="289" y="1912"/>
                  </a:cubicBezTo>
                  <a:cubicBezTo>
                    <a:pt x="340" y="1851"/>
                    <a:pt x="317" y="1787"/>
                    <a:pt x="391" y="1657"/>
                  </a:cubicBezTo>
                  <a:cubicBezTo>
                    <a:pt x="465" y="1527"/>
                    <a:pt x="574" y="1407"/>
                    <a:pt x="660" y="1263"/>
                  </a:cubicBezTo>
                  <a:cubicBezTo>
                    <a:pt x="746" y="1119"/>
                    <a:pt x="725" y="1045"/>
                    <a:pt x="821" y="936"/>
                  </a:cubicBezTo>
                  <a:cubicBezTo>
                    <a:pt x="917" y="827"/>
                    <a:pt x="1035" y="818"/>
                    <a:pt x="1141" y="717"/>
                  </a:cubicBezTo>
                  <a:cubicBezTo>
                    <a:pt x="1247" y="616"/>
                    <a:pt x="1307" y="510"/>
                    <a:pt x="1352" y="433"/>
                  </a:cubicBezTo>
                  <a:cubicBezTo>
                    <a:pt x="1397" y="356"/>
                    <a:pt x="1307" y="380"/>
                    <a:pt x="1367" y="331"/>
                  </a:cubicBezTo>
                  <a:cubicBezTo>
                    <a:pt x="1427" y="282"/>
                    <a:pt x="2175" y="233"/>
                    <a:pt x="2235" y="179"/>
                  </a:cubicBezTo>
                  <a:cubicBezTo>
                    <a:pt x="2296" y="125"/>
                    <a:pt x="2180" y="26"/>
                    <a:pt x="2147" y="4"/>
                  </a:cubicBezTo>
                  <a:cubicBezTo>
                    <a:pt x="2115" y="-18"/>
                    <a:pt x="1540" y="64"/>
                    <a:pt x="1491" y="77"/>
                  </a:cubicBezTo>
                  <a:cubicBezTo>
                    <a:pt x="1442" y="90"/>
                    <a:pt x="1503" y="61"/>
                    <a:pt x="1418" y="128"/>
                  </a:cubicBezTo>
                  <a:close/>
                </a:path>
              </a:pathLst>
            </a:custGeom>
            <a:solidFill>
              <a:schemeClr val="l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25"/>
              </p:custDataLst>
            </p:nvPr>
          </p:nvSpPr>
          <p:spPr>
            <a:xfrm>
              <a:off x="9896" y="7494"/>
              <a:ext cx="3510" cy="2488"/>
            </a:xfrm>
            <a:custGeom>
              <a:avLst/>
              <a:gdLst>
                <a:gd name="connsiteX0" fmla="*/ 0 w 3510"/>
                <a:gd name="connsiteY0" fmla="*/ 1525 h 2488"/>
                <a:gd name="connsiteX1" fmla="*/ 526 w 3510"/>
                <a:gd name="connsiteY1" fmla="*/ 1525 h 2488"/>
                <a:gd name="connsiteX2" fmla="*/ 1117 w 3510"/>
                <a:gd name="connsiteY2" fmla="*/ 1522 h 2488"/>
                <a:gd name="connsiteX3" fmla="*/ 1103 w 3510"/>
                <a:gd name="connsiteY3" fmla="*/ 1362 h 2488"/>
                <a:gd name="connsiteX4" fmla="*/ 1219 w 3510"/>
                <a:gd name="connsiteY4" fmla="*/ 1347 h 2488"/>
                <a:gd name="connsiteX5" fmla="*/ 1226 w 3510"/>
                <a:gd name="connsiteY5" fmla="*/ 1937 h 2488"/>
                <a:gd name="connsiteX6" fmla="*/ 1445 w 3510"/>
                <a:gd name="connsiteY6" fmla="*/ 1937 h 2488"/>
                <a:gd name="connsiteX7" fmla="*/ 1474 w 3510"/>
                <a:gd name="connsiteY7" fmla="*/ 1803 h 2488"/>
                <a:gd name="connsiteX8" fmla="*/ 1904 w 3510"/>
                <a:gd name="connsiteY8" fmla="*/ 881 h 2488"/>
                <a:gd name="connsiteX9" fmla="*/ 2668 w 3510"/>
                <a:gd name="connsiteY9" fmla="*/ 102 h 2488"/>
                <a:gd name="connsiteX10" fmla="*/ 3433 w 3510"/>
                <a:gd name="connsiteY10" fmla="*/ 0 h 2488"/>
                <a:gd name="connsiteX11" fmla="*/ 3510 w 3510"/>
                <a:gd name="connsiteY11" fmla="*/ 1525 h 2488"/>
                <a:gd name="connsiteX12" fmla="*/ 3510 w 3510"/>
                <a:gd name="connsiteY12" fmla="*/ 2488 h 2488"/>
                <a:gd name="connsiteX13" fmla="*/ 0 w 3510"/>
                <a:gd name="connsiteY13" fmla="*/ 2488 h 2488"/>
                <a:gd name="connsiteX14" fmla="*/ 0 w 3510"/>
                <a:gd name="connsiteY14" fmla="*/ 1525 h 2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10" h="2488">
                  <a:moveTo>
                    <a:pt x="0" y="1525"/>
                  </a:moveTo>
                  <a:lnTo>
                    <a:pt x="526" y="1525"/>
                  </a:lnTo>
                  <a:lnTo>
                    <a:pt x="1117" y="1522"/>
                  </a:lnTo>
                  <a:lnTo>
                    <a:pt x="1103" y="1362"/>
                  </a:lnTo>
                  <a:lnTo>
                    <a:pt x="1219" y="1347"/>
                  </a:lnTo>
                  <a:lnTo>
                    <a:pt x="1226" y="1937"/>
                  </a:lnTo>
                  <a:lnTo>
                    <a:pt x="1445" y="1937"/>
                  </a:lnTo>
                  <a:lnTo>
                    <a:pt x="1474" y="1803"/>
                  </a:lnTo>
                  <a:lnTo>
                    <a:pt x="1904" y="881"/>
                  </a:lnTo>
                  <a:lnTo>
                    <a:pt x="2668" y="102"/>
                  </a:lnTo>
                  <a:lnTo>
                    <a:pt x="3433" y="0"/>
                  </a:lnTo>
                  <a:lnTo>
                    <a:pt x="3510" y="1525"/>
                  </a:lnTo>
                  <a:lnTo>
                    <a:pt x="3510" y="2488"/>
                  </a:lnTo>
                  <a:lnTo>
                    <a:pt x="0" y="2488"/>
                  </a:lnTo>
                  <a:lnTo>
                    <a:pt x="0" y="1525"/>
                  </a:lnTo>
                  <a:close/>
                </a:path>
              </a:pathLst>
            </a:custGeom>
            <a:pattFill prst="shingle">
              <a:fgClr>
                <a:schemeClr val="accent2">
                  <a:lumMod val="50000"/>
                </a:schemeClr>
              </a:fgClr>
              <a:bgClr>
                <a:schemeClr val="accent2">
                  <a:lumMod val="75000"/>
                </a:schemeClr>
              </a:bgClr>
            </a:patt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54" name="组合 53"/>
            <p:cNvGrpSpPr/>
            <p:nvPr/>
          </p:nvGrpSpPr>
          <p:grpSpPr>
            <a:xfrm>
              <a:off x="10220" y="8038"/>
              <a:ext cx="1841" cy="1384"/>
              <a:chOff x="10220" y="8038"/>
              <a:chExt cx="1841" cy="1384"/>
            </a:xfrm>
            <a:solidFill>
              <a:schemeClr val="bg2">
                <a:lumMod val="50000"/>
              </a:schemeClr>
            </a:solidFill>
          </p:grpSpPr>
          <p:sp>
            <p:nvSpPr>
              <p:cNvPr id="38" name="任意多边形 37"/>
              <p:cNvSpPr/>
              <p:nvPr>
                <p:custDataLst>
                  <p:tags r:id="rId26"/>
                </p:custDataLst>
              </p:nvPr>
            </p:nvSpPr>
            <p:spPr>
              <a:xfrm>
                <a:off x="11705" y="8038"/>
                <a:ext cx="357" cy="350"/>
              </a:xfrm>
              <a:custGeom>
                <a:avLst/>
                <a:gdLst>
                  <a:gd name="connisteX0" fmla="*/ 166370 w 226695"/>
                  <a:gd name="connsiteY0" fmla="*/ 83185 h 222250"/>
                  <a:gd name="connisteX1" fmla="*/ 64770 w 226695"/>
                  <a:gd name="connsiteY1" fmla="*/ 0 h 222250"/>
                  <a:gd name="connisteX2" fmla="*/ 18415 w 226695"/>
                  <a:gd name="connsiteY2" fmla="*/ 92710 h 222250"/>
                  <a:gd name="connisteX3" fmla="*/ 50800 w 226695"/>
                  <a:gd name="connsiteY3" fmla="*/ 120015 h 222250"/>
                  <a:gd name="connisteX4" fmla="*/ 0 w 226695"/>
                  <a:gd name="connsiteY4" fmla="*/ 175895 h 222250"/>
                  <a:gd name="connisteX5" fmla="*/ 46355 w 226695"/>
                  <a:gd name="connsiteY5" fmla="*/ 222250 h 222250"/>
                  <a:gd name="connisteX6" fmla="*/ 69215 w 226695"/>
                  <a:gd name="connsiteY6" fmla="*/ 180340 h 222250"/>
                  <a:gd name="connisteX7" fmla="*/ 143510 w 226695"/>
                  <a:gd name="connsiteY7" fmla="*/ 194310 h 222250"/>
                  <a:gd name="connisteX8" fmla="*/ 111125 w 226695"/>
                  <a:gd name="connsiteY8" fmla="*/ 157480 h 222250"/>
                  <a:gd name="connisteX9" fmla="*/ 226695 w 226695"/>
                  <a:gd name="connsiteY9" fmla="*/ 143510 h 222250"/>
                  <a:gd name="connisteX10" fmla="*/ 212725 w 226695"/>
                  <a:gd name="connsiteY10" fmla="*/ 64770 h 222250"/>
                  <a:gd name="connisteX11" fmla="*/ 166370 w 226695"/>
                  <a:gd name="connsiteY11" fmla="*/ 83185 h 222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226695" h="222250">
                    <a:moveTo>
                      <a:pt x="166370" y="83185"/>
                    </a:moveTo>
                    <a:lnTo>
                      <a:pt x="64770" y="0"/>
                    </a:lnTo>
                    <a:lnTo>
                      <a:pt x="18415" y="92710"/>
                    </a:lnTo>
                    <a:lnTo>
                      <a:pt x="50800" y="120015"/>
                    </a:lnTo>
                    <a:lnTo>
                      <a:pt x="0" y="175895"/>
                    </a:lnTo>
                    <a:lnTo>
                      <a:pt x="46355" y="222250"/>
                    </a:lnTo>
                    <a:lnTo>
                      <a:pt x="69215" y="180340"/>
                    </a:lnTo>
                    <a:lnTo>
                      <a:pt x="143510" y="194310"/>
                    </a:lnTo>
                    <a:lnTo>
                      <a:pt x="111125" y="157480"/>
                    </a:lnTo>
                    <a:lnTo>
                      <a:pt x="226695" y="143510"/>
                    </a:lnTo>
                    <a:lnTo>
                      <a:pt x="212725" y="64770"/>
                    </a:lnTo>
                    <a:lnTo>
                      <a:pt x="166370" y="831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任意多边形 38"/>
              <p:cNvSpPr/>
              <p:nvPr>
                <p:custDataLst>
                  <p:tags r:id="rId27"/>
                </p:custDataLst>
              </p:nvPr>
            </p:nvSpPr>
            <p:spPr>
              <a:xfrm>
                <a:off x="11348" y="8424"/>
                <a:ext cx="241" cy="320"/>
              </a:xfrm>
              <a:custGeom>
                <a:avLst/>
                <a:gdLst>
                  <a:gd name="connisteX0" fmla="*/ 46355 w 153035"/>
                  <a:gd name="connsiteY0" fmla="*/ 120015 h 203200"/>
                  <a:gd name="connisteX1" fmla="*/ 19050 w 153035"/>
                  <a:gd name="connsiteY1" fmla="*/ 0 h 203200"/>
                  <a:gd name="connisteX2" fmla="*/ 102235 w 153035"/>
                  <a:gd name="connsiteY2" fmla="*/ 36830 h 203200"/>
                  <a:gd name="connisteX3" fmla="*/ 97155 w 153035"/>
                  <a:gd name="connsiteY3" fmla="*/ 83185 h 203200"/>
                  <a:gd name="connisteX4" fmla="*/ 153035 w 153035"/>
                  <a:gd name="connsiteY4" fmla="*/ 111125 h 203200"/>
                  <a:gd name="connisteX5" fmla="*/ 134620 w 153035"/>
                  <a:gd name="connsiteY5" fmla="*/ 171450 h 203200"/>
                  <a:gd name="connisteX6" fmla="*/ 83820 w 153035"/>
                  <a:gd name="connsiteY6" fmla="*/ 203200 h 203200"/>
                  <a:gd name="connisteX7" fmla="*/ 0 w 153035"/>
                  <a:gd name="connsiteY7" fmla="*/ 175895 h 203200"/>
                  <a:gd name="connisteX8" fmla="*/ 46355 w 153035"/>
                  <a:gd name="connsiteY8" fmla="*/ 120015 h 20320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153035" h="203200">
                    <a:moveTo>
                      <a:pt x="46355" y="120015"/>
                    </a:moveTo>
                    <a:lnTo>
                      <a:pt x="19050" y="0"/>
                    </a:lnTo>
                    <a:lnTo>
                      <a:pt x="102235" y="36830"/>
                    </a:lnTo>
                    <a:lnTo>
                      <a:pt x="97155" y="83185"/>
                    </a:lnTo>
                    <a:lnTo>
                      <a:pt x="153035" y="111125"/>
                    </a:lnTo>
                    <a:lnTo>
                      <a:pt x="134620" y="171450"/>
                    </a:lnTo>
                    <a:lnTo>
                      <a:pt x="83820" y="203200"/>
                    </a:lnTo>
                    <a:lnTo>
                      <a:pt x="0" y="175895"/>
                    </a:lnTo>
                    <a:lnTo>
                      <a:pt x="46355" y="12001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任意多边形 39"/>
              <p:cNvSpPr/>
              <p:nvPr>
                <p:custDataLst>
                  <p:tags r:id="rId28"/>
                </p:custDataLst>
              </p:nvPr>
            </p:nvSpPr>
            <p:spPr>
              <a:xfrm>
                <a:off x="11254" y="9065"/>
                <a:ext cx="218" cy="145"/>
              </a:xfrm>
              <a:custGeom>
                <a:avLst/>
                <a:gdLst>
                  <a:gd name="connisteX0" fmla="*/ 83185 w 138430"/>
                  <a:gd name="connsiteY0" fmla="*/ 27940 h 92075"/>
                  <a:gd name="connisteX1" fmla="*/ 138430 w 138430"/>
                  <a:gd name="connsiteY1" fmla="*/ 0 h 92075"/>
                  <a:gd name="connisteX2" fmla="*/ 129540 w 138430"/>
                  <a:gd name="connsiteY2" fmla="*/ 50800 h 92075"/>
                  <a:gd name="connisteX3" fmla="*/ 55245 w 138430"/>
                  <a:gd name="connsiteY3" fmla="*/ 92075 h 92075"/>
                  <a:gd name="connisteX4" fmla="*/ 0 w 138430"/>
                  <a:gd name="connsiteY4" fmla="*/ 73660 h 92075"/>
                  <a:gd name="connisteX5" fmla="*/ 22860 w 138430"/>
                  <a:gd name="connsiteY5" fmla="*/ 27940 h 92075"/>
                  <a:gd name="connisteX6" fmla="*/ 83185 w 138430"/>
                  <a:gd name="connsiteY6" fmla="*/ 27940 h 920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38430" h="92075">
                    <a:moveTo>
                      <a:pt x="83185" y="27940"/>
                    </a:moveTo>
                    <a:lnTo>
                      <a:pt x="138430" y="0"/>
                    </a:lnTo>
                    <a:lnTo>
                      <a:pt x="129540" y="50800"/>
                    </a:lnTo>
                    <a:lnTo>
                      <a:pt x="55245" y="92075"/>
                    </a:lnTo>
                    <a:lnTo>
                      <a:pt x="0" y="73660"/>
                    </a:lnTo>
                    <a:lnTo>
                      <a:pt x="22860" y="27940"/>
                    </a:lnTo>
                    <a:lnTo>
                      <a:pt x="83185" y="2794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1" name="任意多边形 40"/>
              <p:cNvSpPr/>
              <p:nvPr>
                <p:custDataLst>
                  <p:tags r:id="rId29"/>
                </p:custDataLst>
              </p:nvPr>
            </p:nvSpPr>
            <p:spPr>
              <a:xfrm>
                <a:off x="11225" y="9320"/>
                <a:ext cx="174" cy="102"/>
              </a:xfrm>
              <a:custGeom>
                <a:avLst/>
                <a:gdLst>
                  <a:gd name="connisteX0" fmla="*/ 106045 w 110490"/>
                  <a:gd name="connsiteY0" fmla="*/ 64770 h 64770"/>
                  <a:gd name="connisteX1" fmla="*/ 0 w 110490"/>
                  <a:gd name="connsiteY1" fmla="*/ 46355 h 64770"/>
                  <a:gd name="connisteX2" fmla="*/ 55245 w 110490"/>
                  <a:gd name="connsiteY2" fmla="*/ 0 h 64770"/>
                  <a:gd name="connisteX3" fmla="*/ 73660 w 110490"/>
                  <a:gd name="connsiteY3" fmla="*/ 36830 h 64770"/>
                  <a:gd name="connisteX4" fmla="*/ 110490 w 110490"/>
                  <a:gd name="connsiteY4" fmla="*/ 22860 h 64770"/>
                  <a:gd name="connisteX5" fmla="*/ 106045 w 110490"/>
                  <a:gd name="connsiteY5" fmla="*/ 64770 h 6477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110490" h="64770">
                    <a:moveTo>
                      <a:pt x="106045" y="64770"/>
                    </a:moveTo>
                    <a:lnTo>
                      <a:pt x="0" y="46355"/>
                    </a:lnTo>
                    <a:lnTo>
                      <a:pt x="55245" y="0"/>
                    </a:lnTo>
                    <a:lnTo>
                      <a:pt x="73660" y="36830"/>
                    </a:lnTo>
                    <a:lnTo>
                      <a:pt x="110490" y="22860"/>
                    </a:lnTo>
                    <a:lnTo>
                      <a:pt x="106045" y="6477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30"/>
                </p:custDataLst>
              </p:nvPr>
            </p:nvSpPr>
            <p:spPr>
              <a:xfrm>
                <a:off x="10766" y="8715"/>
                <a:ext cx="284" cy="379"/>
              </a:xfrm>
              <a:custGeom>
                <a:avLst/>
                <a:gdLst>
                  <a:gd name="connisteX0" fmla="*/ 120015 w 180340"/>
                  <a:gd name="connsiteY0" fmla="*/ 185420 h 240665"/>
                  <a:gd name="connisteX1" fmla="*/ 180340 w 180340"/>
                  <a:gd name="connsiteY1" fmla="*/ 46355 h 240665"/>
                  <a:gd name="connisteX2" fmla="*/ 87630 w 180340"/>
                  <a:gd name="connsiteY2" fmla="*/ 0 h 240665"/>
                  <a:gd name="connisteX3" fmla="*/ 13970 w 180340"/>
                  <a:gd name="connsiteY3" fmla="*/ 55880 h 240665"/>
                  <a:gd name="connisteX4" fmla="*/ 36830 w 180340"/>
                  <a:gd name="connsiteY4" fmla="*/ 139065 h 240665"/>
                  <a:gd name="connisteX5" fmla="*/ 0 w 180340"/>
                  <a:gd name="connsiteY5" fmla="*/ 203835 h 240665"/>
                  <a:gd name="connisteX6" fmla="*/ 83185 w 180340"/>
                  <a:gd name="connsiteY6" fmla="*/ 240665 h 240665"/>
                  <a:gd name="connisteX7" fmla="*/ 120015 w 180340"/>
                  <a:gd name="connsiteY7" fmla="*/ 185420 h 24066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80340" h="240665">
                    <a:moveTo>
                      <a:pt x="120015" y="185420"/>
                    </a:moveTo>
                    <a:lnTo>
                      <a:pt x="180340" y="46355"/>
                    </a:lnTo>
                    <a:lnTo>
                      <a:pt x="87630" y="0"/>
                    </a:lnTo>
                    <a:lnTo>
                      <a:pt x="13970" y="55880"/>
                    </a:lnTo>
                    <a:lnTo>
                      <a:pt x="36830" y="139065"/>
                    </a:lnTo>
                    <a:lnTo>
                      <a:pt x="0" y="203835"/>
                    </a:lnTo>
                    <a:lnTo>
                      <a:pt x="83185" y="240665"/>
                    </a:lnTo>
                    <a:lnTo>
                      <a:pt x="120015" y="18542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3" name="任意多边形 42"/>
              <p:cNvSpPr/>
              <p:nvPr>
                <p:custDataLst>
                  <p:tags r:id="rId31"/>
                </p:custDataLst>
              </p:nvPr>
            </p:nvSpPr>
            <p:spPr>
              <a:xfrm>
                <a:off x="10220" y="8985"/>
                <a:ext cx="255" cy="153"/>
              </a:xfrm>
              <a:custGeom>
                <a:avLst/>
                <a:gdLst>
                  <a:gd name="connisteX0" fmla="*/ 0 w 161925"/>
                  <a:gd name="connsiteY0" fmla="*/ 55245 h 97155"/>
                  <a:gd name="connisteX1" fmla="*/ 18415 w 161925"/>
                  <a:gd name="connsiteY1" fmla="*/ 13970 h 97155"/>
                  <a:gd name="connisteX2" fmla="*/ 101600 w 161925"/>
                  <a:gd name="connsiteY2" fmla="*/ 32385 h 97155"/>
                  <a:gd name="connisteX3" fmla="*/ 161925 w 161925"/>
                  <a:gd name="connsiteY3" fmla="*/ 0 h 97155"/>
                  <a:gd name="connisteX4" fmla="*/ 161925 w 161925"/>
                  <a:gd name="connsiteY4" fmla="*/ 64770 h 97155"/>
                  <a:gd name="connisteX5" fmla="*/ 55245 w 161925"/>
                  <a:gd name="connsiteY5" fmla="*/ 64770 h 97155"/>
                  <a:gd name="connisteX6" fmla="*/ 32385 w 161925"/>
                  <a:gd name="connsiteY6" fmla="*/ 97155 h 97155"/>
                  <a:gd name="connisteX7" fmla="*/ 0 w 161925"/>
                  <a:gd name="connsiteY7" fmla="*/ 55245 h 9715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61925" h="97155">
                    <a:moveTo>
                      <a:pt x="0" y="55245"/>
                    </a:moveTo>
                    <a:lnTo>
                      <a:pt x="18415" y="13970"/>
                    </a:lnTo>
                    <a:lnTo>
                      <a:pt x="101600" y="32385"/>
                    </a:lnTo>
                    <a:lnTo>
                      <a:pt x="161925" y="0"/>
                    </a:lnTo>
                    <a:lnTo>
                      <a:pt x="161925" y="64770"/>
                    </a:lnTo>
                    <a:lnTo>
                      <a:pt x="55245" y="64770"/>
                    </a:lnTo>
                    <a:lnTo>
                      <a:pt x="32385" y="97155"/>
                    </a:lnTo>
                    <a:lnTo>
                      <a:pt x="0" y="5524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32"/>
                </p:custDataLst>
              </p:nvPr>
            </p:nvSpPr>
            <p:spPr>
              <a:xfrm>
                <a:off x="10584" y="8941"/>
                <a:ext cx="131" cy="197"/>
              </a:xfrm>
              <a:custGeom>
                <a:avLst/>
                <a:gdLst>
                  <a:gd name="connisteX0" fmla="*/ 0 w 83185"/>
                  <a:gd name="connsiteY0" fmla="*/ 32385 h 125095"/>
                  <a:gd name="connisteX1" fmla="*/ 46355 w 83185"/>
                  <a:gd name="connsiteY1" fmla="*/ 0 h 125095"/>
                  <a:gd name="connisteX2" fmla="*/ 78740 w 83185"/>
                  <a:gd name="connsiteY2" fmla="*/ 41910 h 125095"/>
                  <a:gd name="connisteX3" fmla="*/ 83185 w 83185"/>
                  <a:gd name="connsiteY3" fmla="*/ 97155 h 125095"/>
                  <a:gd name="connisteX4" fmla="*/ 27940 w 83185"/>
                  <a:gd name="connsiteY4" fmla="*/ 125095 h 125095"/>
                  <a:gd name="connisteX5" fmla="*/ 4445 w 83185"/>
                  <a:gd name="connsiteY5" fmla="*/ 83185 h 125095"/>
                  <a:gd name="connisteX6" fmla="*/ 0 w 83185"/>
                  <a:gd name="connsiteY6" fmla="*/ 32385 h 12509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83185" h="125095">
                    <a:moveTo>
                      <a:pt x="0" y="32385"/>
                    </a:moveTo>
                    <a:lnTo>
                      <a:pt x="46355" y="0"/>
                    </a:lnTo>
                    <a:lnTo>
                      <a:pt x="78740" y="41910"/>
                    </a:lnTo>
                    <a:lnTo>
                      <a:pt x="83185" y="97155"/>
                    </a:lnTo>
                    <a:lnTo>
                      <a:pt x="27940" y="125095"/>
                    </a:lnTo>
                    <a:lnTo>
                      <a:pt x="4445" y="83185"/>
                    </a:lnTo>
                    <a:lnTo>
                      <a:pt x="0" y="32385"/>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69" name="组合 68"/>
          <p:cNvGrpSpPr/>
          <p:nvPr/>
        </p:nvGrpSpPr>
        <p:grpSpPr>
          <a:xfrm>
            <a:off x="8846185" y="4866005"/>
            <a:ext cx="2542540" cy="1466850"/>
            <a:chOff x="13932" y="7663"/>
            <a:chExt cx="4004" cy="2310"/>
          </a:xfrm>
        </p:grpSpPr>
        <p:sp>
          <p:nvSpPr>
            <p:cNvPr id="68" name="矩形 67"/>
            <p:cNvSpPr/>
            <p:nvPr>
              <p:custDataLst>
                <p:tags r:id="rId33"/>
              </p:custDataLst>
            </p:nvPr>
          </p:nvSpPr>
          <p:spPr>
            <a:xfrm>
              <a:off x="13932" y="7663"/>
              <a:ext cx="4005" cy="23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2" name="组合 61"/>
            <p:cNvGrpSpPr/>
            <p:nvPr/>
          </p:nvGrpSpPr>
          <p:grpSpPr>
            <a:xfrm>
              <a:off x="14216" y="8167"/>
              <a:ext cx="3479" cy="1594"/>
              <a:chOff x="14171" y="7725"/>
              <a:chExt cx="4138" cy="2719"/>
            </a:xfrm>
            <a:solidFill>
              <a:schemeClr val="bg2">
                <a:lumMod val="90000"/>
              </a:schemeClr>
            </a:solidFill>
          </p:grpSpPr>
          <p:sp>
            <p:nvSpPr>
              <p:cNvPr id="55" name="任意多边形 54"/>
              <p:cNvSpPr/>
              <p:nvPr>
                <p:custDataLst>
                  <p:tags r:id="rId34"/>
                </p:custDataLst>
              </p:nvPr>
            </p:nvSpPr>
            <p:spPr>
              <a:xfrm>
                <a:off x="14738" y="7725"/>
                <a:ext cx="2947" cy="1177"/>
              </a:xfrm>
              <a:custGeom>
                <a:avLst/>
                <a:gdLst>
                  <a:gd name="connisteX0" fmla="*/ 1545331 w 1871299"/>
                  <a:gd name="connsiteY0" fmla="*/ 75017 h 747497"/>
                  <a:gd name="connisteX1" fmla="*/ 688081 w 1871299"/>
                  <a:gd name="connsiteY1" fmla="*/ 17867 h 747497"/>
                  <a:gd name="connisteX2" fmla="*/ 49906 w 1871299"/>
                  <a:gd name="connsiteY2" fmla="*/ 322667 h 747497"/>
                  <a:gd name="connisteX3" fmla="*/ 154681 w 1871299"/>
                  <a:gd name="connsiteY3" fmla="*/ 694142 h 747497"/>
                  <a:gd name="connisteX4" fmla="*/ 716656 w 1871299"/>
                  <a:gd name="connsiteY4" fmla="*/ 732242 h 747497"/>
                  <a:gd name="connisteX5" fmla="*/ 535681 w 1871299"/>
                  <a:gd name="connsiteY5" fmla="*/ 646517 h 747497"/>
                  <a:gd name="connisteX6" fmla="*/ 288031 w 1871299"/>
                  <a:gd name="connsiteY6" fmla="*/ 551267 h 747497"/>
                  <a:gd name="connisteX7" fmla="*/ 507106 w 1871299"/>
                  <a:gd name="connsiteY7" fmla="*/ 332192 h 747497"/>
                  <a:gd name="connisteX8" fmla="*/ 1030981 w 1871299"/>
                  <a:gd name="connsiteY8" fmla="*/ 313142 h 747497"/>
                  <a:gd name="connisteX9" fmla="*/ 1631056 w 1871299"/>
                  <a:gd name="connsiteY9" fmla="*/ 436967 h 747497"/>
                  <a:gd name="connisteX10" fmla="*/ 1869181 w 1871299"/>
                  <a:gd name="connsiteY10" fmla="*/ 227417 h 747497"/>
                  <a:gd name="connisteX11" fmla="*/ 1545331 w 1871299"/>
                  <a:gd name="connsiteY11" fmla="*/ 75017 h 74749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871299" h="747498">
                    <a:moveTo>
                      <a:pt x="1545331" y="75018"/>
                    </a:moveTo>
                    <a:cubicBezTo>
                      <a:pt x="1309111" y="33108"/>
                      <a:pt x="987166" y="-31662"/>
                      <a:pt x="688081" y="17868"/>
                    </a:cubicBezTo>
                    <a:cubicBezTo>
                      <a:pt x="388996" y="67398"/>
                      <a:pt x="156586" y="187413"/>
                      <a:pt x="49906" y="322668"/>
                    </a:cubicBezTo>
                    <a:cubicBezTo>
                      <a:pt x="-56774" y="457923"/>
                      <a:pt x="21331" y="612228"/>
                      <a:pt x="154681" y="694143"/>
                    </a:cubicBezTo>
                    <a:cubicBezTo>
                      <a:pt x="288031" y="776058"/>
                      <a:pt x="640456" y="741768"/>
                      <a:pt x="716656" y="732243"/>
                    </a:cubicBezTo>
                    <a:cubicBezTo>
                      <a:pt x="792856" y="722718"/>
                      <a:pt x="621406" y="682713"/>
                      <a:pt x="535681" y="646518"/>
                    </a:cubicBezTo>
                    <a:cubicBezTo>
                      <a:pt x="449956" y="610323"/>
                      <a:pt x="293746" y="614133"/>
                      <a:pt x="288031" y="551268"/>
                    </a:cubicBezTo>
                    <a:cubicBezTo>
                      <a:pt x="282316" y="488403"/>
                      <a:pt x="358516" y="379818"/>
                      <a:pt x="507106" y="332193"/>
                    </a:cubicBezTo>
                    <a:cubicBezTo>
                      <a:pt x="655696" y="284568"/>
                      <a:pt x="806191" y="292188"/>
                      <a:pt x="1030981" y="313143"/>
                    </a:cubicBezTo>
                    <a:cubicBezTo>
                      <a:pt x="1255771" y="334098"/>
                      <a:pt x="1463416" y="454113"/>
                      <a:pt x="1631056" y="436968"/>
                    </a:cubicBezTo>
                    <a:cubicBezTo>
                      <a:pt x="1798696" y="419823"/>
                      <a:pt x="1886326" y="299808"/>
                      <a:pt x="1869181" y="227418"/>
                    </a:cubicBezTo>
                    <a:cubicBezTo>
                      <a:pt x="1852036" y="155028"/>
                      <a:pt x="1781551" y="116928"/>
                      <a:pt x="1545331" y="75018"/>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任意多边形 55"/>
              <p:cNvSpPr/>
              <p:nvPr>
                <p:custDataLst>
                  <p:tags r:id="rId35"/>
                </p:custDataLst>
              </p:nvPr>
            </p:nvSpPr>
            <p:spPr>
              <a:xfrm>
                <a:off x="15773" y="8365"/>
                <a:ext cx="2078" cy="1239"/>
              </a:xfrm>
              <a:custGeom>
                <a:avLst/>
                <a:gdLst>
                  <a:gd name="connisteX0" fmla="*/ 126179 w 1319275"/>
                  <a:gd name="connsiteY0" fmla="*/ 2005 h 786605"/>
                  <a:gd name="connisteX1" fmla="*/ 745304 w 1319275"/>
                  <a:gd name="connsiteY1" fmla="*/ 49630 h 786605"/>
                  <a:gd name="connisteX2" fmla="*/ 1231079 w 1319275"/>
                  <a:gd name="connsiteY2" fmla="*/ 249655 h 786605"/>
                  <a:gd name="connisteX3" fmla="*/ 1297754 w 1319275"/>
                  <a:gd name="connsiteY3" fmla="*/ 563980 h 786605"/>
                  <a:gd name="connisteX4" fmla="*/ 1078679 w 1319275"/>
                  <a:gd name="connsiteY4" fmla="*/ 668755 h 786605"/>
                  <a:gd name="connisteX5" fmla="*/ 716729 w 1319275"/>
                  <a:gd name="connsiteY5" fmla="*/ 783055 h 786605"/>
                  <a:gd name="connisteX6" fmla="*/ 888179 w 1319275"/>
                  <a:gd name="connsiteY6" fmla="*/ 554455 h 786605"/>
                  <a:gd name="connisteX7" fmla="*/ 1031054 w 1319275"/>
                  <a:gd name="connsiteY7" fmla="*/ 392530 h 786605"/>
                  <a:gd name="connisteX8" fmla="*/ 869129 w 1319275"/>
                  <a:gd name="connsiteY8" fmla="*/ 278230 h 786605"/>
                  <a:gd name="connisteX9" fmla="*/ 611954 w 1319275"/>
                  <a:gd name="connsiteY9" fmla="*/ 144880 h 786605"/>
                  <a:gd name="connisteX10" fmla="*/ 373829 w 1319275"/>
                  <a:gd name="connsiteY10" fmla="*/ 78205 h 786605"/>
                  <a:gd name="connisteX11" fmla="*/ 183329 w 1319275"/>
                  <a:gd name="connsiteY11" fmla="*/ 59155 h 786605"/>
                  <a:gd name="connisteX12" fmla="*/ 278579 w 1319275"/>
                  <a:gd name="connsiteY12" fmla="*/ 202030 h 786605"/>
                  <a:gd name="connisteX13" fmla="*/ 135704 w 1319275"/>
                  <a:gd name="connsiteY13" fmla="*/ 192505 h 786605"/>
                  <a:gd name="connisteX14" fmla="*/ 2354 w 1319275"/>
                  <a:gd name="connsiteY14" fmla="*/ 78205 h 786605"/>
                  <a:gd name="connisteX15" fmla="*/ 126179 w 1319275"/>
                  <a:gd name="connsiteY15" fmla="*/ 2005 h 78660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1319275" h="786606">
                    <a:moveTo>
                      <a:pt x="126180" y="2006"/>
                    </a:moveTo>
                    <a:cubicBezTo>
                      <a:pt x="274770" y="-3709"/>
                      <a:pt x="524325" y="101"/>
                      <a:pt x="745305" y="49631"/>
                    </a:cubicBezTo>
                    <a:cubicBezTo>
                      <a:pt x="966285" y="99161"/>
                      <a:pt x="1120590" y="146786"/>
                      <a:pt x="1231080" y="249656"/>
                    </a:cubicBezTo>
                    <a:cubicBezTo>
                      <a:pt x="1341570" y="352526"/>
                      <a:pt x="1328235" y="480161"/>
                      <a:pt x="1297755" y="563981"/>
                    </a:cubicBezTo>
                    <a:cubicBezTo>
                      <a:pt x="1267275" y="647801"/>
                      <a:pt x="1194885" y="624941"/>
                      <a:pt x="1078680" y="668756"/>
                    </a:cubicBezTo>
                    <a:cubicBezTo>
                      <a:pt x="962475" y="712571"/>
                      <a:pt x="754830" y="805916"/>
                      <a:pt x="716730" y="783056"/>
                    </a:cubicBezTo>
                    <a:cubicBezTo>
                      <a:pt x="678630" y="760196"/>
                      <a:pt x="825315" y="632561"/>
                      <a:pt x="888180" y="554456"/>
                    </a:cubicBezTo>
                    <a:cubicBezTo>
                      <a:pt x="951045" y="476351"/>
                      <a:pt x="1034865" y="447776"/>
                      <a:pt x="1031055" y="392531"/>
                    </a:cubicBezTo>
                    <a:cubicBezTo>
                      <a:pt x="1027245" y="337286"/>
                      <a:pt x="952950" y="327761"/>
                      <a:pt x="869130" y="278231"/>
                    </a:cubicBezTo>
                    <a:cubicBezTo>
                      <a:pt x="785310" y="228701"/>
                      <a:pt x="711015" y="184886"/>
                      <a:pt x="611955" y="144881"/>
                    </a:cubicBezTo>
                    <a:cubicBezTo>
                      <a:pt x="512895" y="104876"/>
                      <a:pt x="459555" y="95351"/>
                      <a:pt x="373830" y="78206"/>
                    </a:cubicBezTo>
                    <a:cubicBezTo>
                      <a:pt x="288105" y="61061"/>
                      <a:pt x="202380" y="34391"/>
                      <a:pt x="183330" y="59156"/>
                    </a:cubicBezTo>
                    <a:cubicBezTo>
                      <a:pt x="164280" y="83921"/>
                      <a:pt x="288105" y="175361"/>
                      <a:pt x="278580" y="202031"/>
                    </a:cubicBezTo>
                    <a:cubicBezTo>
                      <a:pt x="269055" y="228701"/>
                      <a:pt x="190950" y="217271"/>
                      <a:pt x="135705" y="192506"/>
                    </a:cubicBezTo>
                    <a:cubicBezTo>
                      <a:pt x="80460" y="167741"/>
                      <a:pt x="4260" y="116306"/>
                      <a:pt x="2355" y="78206"/>
                    </a:cubicBezTo>
                    <a:cubicBezTo>
                      <a:pt x="450" y="40106"/>
                      <a:pt x="-22410" y="7721"/>
                      <a:pt x="126180" y="2006"/>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36"/>
                </p:custDataLst>
              </p:nvPr>
            </p:nvSpPr>
            <p:spPr>
              <a:xfrm>
                <a:off x="15189" y="8958"/>
                <a:ext cx="1504" cy="943"/>
              </a:xfrm>
              <a:custGeom>
                <a:avLst/>
                <a:gdLst>
                  <a:gd name="connisteX0" fmla="*/ 925867 w 954799"/>
                  <a:gd name="connsiteY0" fmla="*/ 25316 h 598728"/>
                  <a:gd name="connisteX1" fmla="*/ 944917 w 954799"/>
                  <a:gd name="connsiteY1" fmla="*/ 349166 h 598728"/>
                  <a:gd name="connisteX2" fmla="*/ 782992 w 954799"/>
                  <a:gd name="connsiteY2" fmla="*/ 530141 h 598728"/>
                  <a:gd name="connisteX3" fmla="*/ 478192 w 954799"/>
                  <a:gd name="connsiteY3" fmla="*/ 596816 h 598728"/>
                  <a:gd name="connisteX4" fmla="*/ 59092 w 954799"/>
                  <a:gd name="connsiteY4" fmla="*/ 482516 h 598728"/>
                  <a:gd name="connisteX5" fmla="*/ 49567 w 954799"/>
                  <a:gd name="connsiteY5" fmla="*/ 349166 h 598728"/>
                  <a:gd name="connisteX6" fmla="*/ 354367 w 954799"/>
                  <a:gd name="connsiteY6" fmla="*/ 444416 h 598728"/>
                  <a:gd name="connisteX7" fmla="*/ 659167 w 954799"/>
                  <a:gd name="connsiteY7" fmla="*/ 406316 h 598728"/>
                  <a:gd name="connisteX8" fmla="*/ 868717 w 954799"/>
                  <a:gd name="connsiteY8" fmla="*/ 244391 h 598728"/>
                  <a:gd name="connisteX9" fmla="*/ 916342 w 954799"/>
                  <a:gd name="connsiteY9" fmla="*/ 63416 h 598728"/>
                  <a:gd name="connisteX10" fmla="*/ 925867 w 954799"/>
                  <a:gd name="connsiteY10" fmla="*/ 25316 h 5987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954800" h="598728">
                    <a:moveTo>
                      <a:pt x="925867" y="25317"/>
                    </a:moveTo>
                    <a:cubicBezTo>
                      <a:pt x="931582" y="82467"/>
                      <a:pt x="973492" y="248202"/>
                      <a:pt x="944917" y="349167"/>
                    </a:cubicBezTo>
                    <a:cubicBezTo>
                      <a:pt x="916342" y="450132"/>
                      <a:pt x="876337" y="480612"/>
                      <a:pt x="782992" y="530142"/>
                    </a:cubicBezTo>
                    <a:cubicBezTo>
                      <a:pt x="689647" y="579672"/>
                      <a:pt x="622972" y="606342"/>
                      <a:pt x="478192" y="596817"/>
                    </a:cubicBezTo>
                    <a:cubicBezTo>
                      <a:pt x="333412" y="587292"/>
                      <a:pt x="144817" y="532047"/>
                      <a:pt x="59092" y="482517"/>
                    </a:cubicBezTo>
                    <a:cubicBezTo>
                      <a:pt x="-26633" y="432987"/>
                      <a:pt x="-9488" y="356787"/>
                      <a:pt x="49567" y="349167"/>
                    </a:cubicBezTo>
                    <a:cubicBezTo>
                      <a:pt x="108622" y="341547"/>
                      <a:pt x="232447" y="432987"/>
                      <a:pt x="354367" y="444417"/>
                    </a:cubicBezTo>
                    <a:cubicBezTo>
                      <a:pt x="476287" y="455847"/>
                      <a:pt x="556297" y="446322"/>
                      <a:pt x="659167" y="406317"/>
                    </a:cubicBezTo>
                    <a:cubicBezTo>
                      <a:pt x="762037" y="366312"/>
                      <a:pt x="817282" y="312972"/>
                      <a:pt x="868717" y="244392"/>
                    </a:cubicBezTo>
                    <a:cubicBezTo>
                      <a:pt x="920152" y="175812"/>
                      <a:pt x="904912" y="107232"/>
                      <a:pt x="916342" y="63417"/>
                    </a:cubicBezTo>
                    <a:cubicBezTo>
                      <a:pt x="927772" y="19602"/>
                      <a:pt x="920152" y="-31833"/>
                      <a:pt x="925867" y="2531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8" name="任意多边形 57"/>
              <p:cNvSpPr/>
              <p:nvPr>
                <p:custDataLst>
                  <p:tags r:id="rId37"/>
                </p:custDataLst>
              </p:nvPr>
            </p:nvSpPr>
            <p:spPr>
              <a:xfrm>
                <a:off x="14171" y="8091"/>
                <a:ext cx="2129" cy="1326"/>
              </a:xfrm>
              <a:custGeom>
                <a:avLst/>
                <a:gdLst>
                  <a:gd name="connisteX0" fmla="*/ 200461 w 1351991"/>
                  <a:gd name="connsiteY0" fmla="*/ 261436 h 841898"/>
                  <a:gd name="connisteX1" fmla="*/ 476686 w 1351991"/>
                  <a:gd name="connsiteY1" fmla="*/ 642436 h 841898"/>
                  <a:gd name="connisteX2" fmla="*/ 981511 w 1351991"/>
                  <a:gd name="connsiteY2" fmla="*/ 728161 h 841898"/>
                  <a:gd name="connisteX3" fmla="*/ 1343461 w 1351991"/>
                  <a:gd name="connsiteY3" fmla="*/ 661486 h 841898"/>
                  <a:gd name="connisteX4" fmla="*/ 1181536 w 1351991"/>
                  <a:gd name="connsiteY4" fmla="*/ 766261 h 841898"/>
                  <a:gd name="connisteX5" fmla="*/ 876736 w 1351991"/>
                  <a:gd name="connsiteY5" fmla="*/ 823411 h 841898"/>
                  <a:gd name="connisteX6" fmla="*/ 429061 w 1351991"/>
                  <a:gd name="connsiteY6" fmla="*/ 832936 h 841898"/>
                  <a:gd name="connisteX7" fmla="*/ 124261 w 1351991"/>
                  <a:gd name="connsiteY7" fmla="*/ 728161 h 841898"/>
                  <a:gd name="connisteX8" fmla="*/ 436 w 1351991"/>
                  <a:gd name="connsiteY8" fmla="*/ 356686 h 841898"/>
                  <a:gd name="connisteX9" fmla="*/ 95686 w 1351991"/>
                  <a:gd name="connsiteY9" fmla="*/ 32836 h 841898"/>
                  <a:gd name="connisteX10" fmla="*/ 248086 w 1351991"/>
                  <a:gd name="connsiteY10" fmla="*/ 51886 h 841898"/>
                  <a:gd name="connisteX11" fmla="*/ 200461 w 1351991"/>
                  <a:gd name="connsiteY11" fmla="*/ 261436 h 84189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351991" h="841899">
                    <a:moveTo>
                      <a:pt x="200461" y="261437"/>
                    </a:moveTo>
                    <a:cubicBezTo>
                      <a:pt x="246181" y="379547"/>
                      <a:pt x="320476" y="549092"/>
                      <a:pt x="476686" y="642437"/>
                    </a:cubicBezTo>
                    <a:cubicBezTo>
                      <a:pt x="632896" y="735782"/>
                      <a:pt x="808156" y="724352"/>
                      <a:pt x="981511" y="728162"/>
                    </a:cubicBezTo>
                    <a:cubicBezTo>
                      <a:pt x="1154866" y="731972"/>
                      <a:pt x="1303456" y="653867"/>
                      <a:pt x="1343461" y="661487"/>
                    </a:cubicBezTo>
                    <a:cubicBezTo>
                      <a:pt x="1383466" y="669107"/>
                      <a:pt x="1274881" y="733877"/>
                      <a:pt x="1181536" y="766262"/>
                    </a:cubicBezTo>
                    <a:cubicBezTo>
                      <a:pt x="1088191" y="798647"/>
                      <a:pt x="1027231" y="810077"/>
                      <a:pt x="876736" y="823412"/>
                    </a:cubicBezTo>
                    <a:cubicBezTo>
                      <a:pt x="726241" y="836747"/>
                      <a:pt x="579556" y="851987"/>
                      <a:pt x="429061" y="832937"/>
                    </a:cubicBezTo>
                    <a:cubicBezTo>
                      <a:pt x="278566" y="813887"/>
                      <a:pt x="209986" y="823412"/>
                      <a:pt x="124261" y="728162"/>
                    </a:cubicBezTo>
                    <a:cubicBezTo>
                      <a:pt x="38536" y="632912"/>
                      <a:pt x="6151" y="495752"/>
                      <a:pt x="436" y="356687"/>
                    </a:cubicBezTo>
                    <a:cubicBezTo>
                      <a:pt x="-5279" y="217622"/>
                      <a:pt x="46156" y="93797"/>
                      <a:pt x="95686" y="32837"/>
                    </a:cubicBezTo>
                    <a:cubicBezTo>
                      <a:pt x="145216" y="-28123"/>
                      <a:pt x="227131" y="6167"/>
                      <a:pt x="248086" y="51887"/>
                    </a:cubicBezTo>
                    <a:cubicBezTo>
                      <a:pt x="269041" y="97607"/>
                      <a:pt x="154741" y="143327"/>
                      <a:pt x="200461" y="26143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任意多边形 58"/>
              <p:cNvSpPr/>
              <p:nvPr>
                <p:custDataLst>
                  <p:tags r:id="rId38"/>
                </p:custDataLst>
              </p:nvPr>
            </p:nvSpPr>
            <p:spPr>
              <a:xfrm>
                <a:off x="14821" y="9670"/>
                <a:ext cx="2147" cy="774"/>
              </a:xfrm>
              <a:custGeom>
                <a:avLst/>
                <a:gdLst>
                  <a:gd name="connisteX0" fmla="*/ 302061 w 1363082"/>
                  <a:gd name="connsiteY0" fmla="*/ 287682 h 491640"/>
                  <a:gd name="connisteX1" fmla="*/ 835461 w 1363082"/>
                  <a:gd name="connsiteY1" fmla="*/ 297207 h 491640"/>
                  <a:gd name="connisteX2" fmla="*/ 1216461 w 1363082"/>
                  <a:gd name="connsiteY2" fmla="*/ 144807 h 491640"/>
                  <a:gd name="connisteX3" fmla="*/ 1311711 w 1363082"/>
                  <a:gd name="connsiteY3" fmla="*/ 1932 h 491640"/>
                  <a:gd name="connisteX4" fmla="*/ 1330761 w 1363082"/>
                  <a:gd name="connsiteY4" fmla="*/ 230532 h 491640"/>
                  <a:gd name="connisteX5" fmla="*/ 949761 w 1363082"/>
                  <a:gd name="connsiteY5" fmla="*/ 421032 h 491640"/>
                  <a:gd name="connisteX6" fmla="*/ 397311 w 1363082"/>
                  <a:gd name="connsiteY6" fmla="*/ 487707 h 491640"/>
                  <a:gd name="connisteX7" fmla="*/ 25836 w 1363082"/>
                  <a:gd name="connsiteY7" fmla="*/ 344832 h 491640"/>
                  <a:gd name="connisteX8" fmla="*/ 82986 w 1363082"/>
                  <a:gd name="connsiteY8" fmla="*/ 192432 h 491640"/>
                  <a:gd name="connisteX9" fmla="*/ 302061 w 1363082"/>
                  <a:gd name="connsiteY9" fmla="*/ 287682 h 49164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363083" h="491641">
                    <a:moveTo>
                      <a:pt x="302062" y="287683"/>
                    </a:moveTo>
                    <a:cubicBezTo>
                      <a:pt x="452557" y="308638"/>
                      <a:pt x="652582" y="325783"/>
                      <a:pt x="835462" y="297208"/>
                    </a:cubicBezTo>
                    <a:cubicBezTo>
                      <a:pt x="1018342" y="268633"/>
                      <a:pt x="1121212" y="203863"/>
                      <a:pt x="1216462" y="144808"/>
                    </a:cubicBezTo>
                    <a:cubicBezTo>
                      <a:pt x="1311712" y="85753"/>
                      <a:pt x="1288852" y="-15212"/>
                      <a:pt x="1311712" y="1933"/>
                    </a:cubicBezTo>
                    <a:cubicBezTo>
                      <a:pt x="1334572" y="19078"/>
                      <a:pt x="1403152" y="146713"/>
                      <a:pt x="1330762" y="230533"/>
                    </a:cubicBezTo>
                    <a:cubicBezTo>
                      <a:pt x="1258372" y="314353"/>
                      <a:pt x="1136452" y="369598"/>
                      <a:pt x="949762" y="421033"/>
                    </a:cubicBezTo>
                    <a:cubicBezTo>
                      <a:pt x="763072" y="472468"/>
                      <a:pt x="582097" y="502948"/>
                      <a:pt x="397312" y="487708"/>
                    </a:cubicBezTo>
                    <a:cubicBezTo>
                      <a:pt x="212527" y="472468"/>
                      <a:pt x="88702" y="403888"/>
                      <a:pt x="25837" y="344833"/>
                    </a:cubicBezTo>
                    <a:cubicBezTo>
                      <a:pt x="-37028" y="285778"/>
                      <a:pt x="27742" y="203863"/>
                      <a:pt x="82987" y="192433"/>
                    </a:cubicBezTo>
                    <a:cubicBezTo>
                      <a:pt x="138232" y="181003"/>
                      <a:pt x="151567" y="266728"/>
                      <a:pt x="302062" y="28768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任意多边形 59"/>
              <p:cNvSpPr/>
              <p:nvPr>
                <p:custDataLst>
                  <p:tags r:id="rId39"/>
                </p:custDataLst>
              </p:nvPr>
            </p:nvSpPr>
            <p:spPr>
              <a:xfrm>
                <a:off x="17487" y="8442"/>
                <a:ext cx="822" cy="1730"/>
              </a:xfrm>
              <a:custGeom>
                <a:avLst/>
                <a:gdLst>
                  <a:gd name="connisteX0" fmla="*/ 171430 w 521671"/>
                  <a:gd name="connsiteY0" fmla="*/ 563 h 1098314"/>
                  <a:gd name="connisteX1" fmla="*/ 457180 w 521671"/>
                  <a:gd name="connsiteY1" fmla="*/ 162488 h 1098314"/>
                  <a:gd name="connisteX2" fmla="*/ 514330 w 521671"/>
                  <a:gd name="connsiteY2" fmla="*/ 495863 h 1098314"/>
                  <a:gd name="connisteX3" fmla="*/ 380980 w 521671"/>
                  <a:gd name="connsiteY3" fmla="*/ 848288 h 1098314"/>
                  <a:gd name="connisteX4" fmla="*/ 152380 w 521671"/>
                  <a:gd name="connsiteY4" fmla="*/ 1057838 h 1098314"/>
                  <a:gd name="connisteX5" fmla="*/ 47605 w 521671"/>
                  <a:gd name="connsiteY5" fmla="*/ 1086413 h 1098314"/>
                  <a:gd name="connisteX6" fmla="*/ 19030 w 521671"/>
                  <a:gd name="connsiteY6" fmla="*/ 962588 h 1098314"/>
                  <a:gd name="connisteX7" fmla="*/ 276205 w 521671"/>
                  <a:gd name="connsiteY7" fmla="*/ 791138 h 1098314"/>
                  <a:gd name="connisteX8" fmla="*/ 409555 w 521671"/>
                  <a:gd name="connsiteY8" fmla="*/ 543488 h 1098314"/>
                  <a:gd name="connisteX9" fmla="*/ 438130 w 521671"/>
                  <a:gd name="connsiteY9" fmla="*/ 200588 h 1098314"/>
                  <a:gd name="connisteX10" fmla="*/ 171430 w 521671"/>
                  <a:gd name="connsiteY10" fmla="*/ 563 h 109831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521671" h="1098315">
                    <a:moveTo>
                      <a:pt x="171431" y="563"/>
                    </a:moveTo>
                    <a:cubicBezTo>
                      <a:pt x="175241" y="-7057"/>
                      <a:pt x="388601" y="63428"/>
                      <a:pt x="457181" y="162488"/>
                    </a:cubicBezTo>
                    <a:cubicBezTo>
                      <a:pt x="525761" y="261548"/>
                      <a:pt x="529571" y="358703"/>
                      <a:pt x="514331" y="495863"/>
                    </a:cubicBezTo>
                    <a:cubicBezTo>
                      <a:pt x="499091" y="633023"/>
                      <a:pt x="453371" y="735893"/>
                      <a:pt x="380981" y="848288"/>
                    </a:cubicBezTo>
                    <a:cubicBezTo>
                      <a:pt x="308591" y="960683"/>
                      <a:pt x="219056" y="1010213"/>
                      <a:pt x="152381" y="1057838"/>
                    </a:cubicBezTo>
                    <a:cubicBezTo>
                      <a:pt x="85706" y="1105463"/>
                      <a:pt x="74276" y="1105463"/>
                      <a:pt x="47606" y="1086413"/>
                    </a:cubicBezTo>
                    <a:cubicBezTo>
                      <a:pt x="20936" y="1067363"/>
                      <a:pt x="-26689" y="1021643"/>
                      <a:pt x="19031" y="962588"/>
                    </a:cubicBezTo>
                    <a:cubicBezTo>
                      <a:pt x="64751" y="903533"/>
                      <a:pt x="198101" y="874958"/>
                      <a:pt x="276206" y="791138"/>
                    </a:cubicBezTo>
                    <a:cubicBezTo>
                      <a:pt x="354311" y="707318"/>
                      <a:pt x="377171" y="661598"/>
                      <a:pt x="409556" y="543488"/>
                    </a:cubicBezTo>
                    <a:cubicBezTo>
                      <a:pt x="441941" y="425378"/>
                      <a:pt x="485756" y="309173"/>
                      <a:pt x="438131" y="200588"/>
                    </a:cubicBezTo>
                    <a:cubicBezTo>
                      <a:pt x="390506" y="92003"/>
                      <a:pt x="167621" y="8183"/>
                      <a:pt x="171431" y="56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任意多边形 60"/>
              <p:cNvSpPr/>
              <p:nvPr>
                <p:custDataLst>
                  <p:tags r:id="rId40"/>
                </p:custDataLst>
              </p:nvPr>
            </p:nvSpPr>
            <p:spPr>
              <a:xfrm>
                <a:off x="15866" y="8628"/>
                <a:ext cx="856" cy="452"/>
              </a:xfrm>
              <a:custGeom>
                <a:avLst/>
                <a:gdLst>
                  <a:gd name="connisteX0" fmla="*/ 362468 w 543470"/>
                  <a:gd name="connsiteY0" fmla="*/ 263295 h 287248"/>
                  <a:gd name="connisteX1" fmla="*/ 543443 w 543470"/>
                  <a:gd name="connsiteY1" fmla="*/ 148995 h 287248"/>
                  <a:gd name="connisteX2" fmla="*/ 371993 w 543470"/>
                  <a:gd name="connsiteY2" fmla="*/ 15645 h 287248"/>
                  <a:gd name="connisteX3" fmla="*/ 162443 w 543470"/>
                  <a:gd name="connsiteY3" fmla="*/ 25170 h 287248"/>
                  <a:gd name="connisteX4" fmla="*/ 518 w 543470"/>
                  <a:gd name="connsiteY4" fmla="*/ 158520 h 287248"/>
                  <a:gd name="connisteX5" fmla="*/ 124343 w 543470"/>
                  <a:gd name="connsiteY5" fmla="*/ 272820 h 287248"/>
                  <a:gd name="connisteX6" fmla="*/ 267218 w 543470"/>
                  <a:gd name="connsiteY6" fmla="*/ 272820 h 287248"/>
                  <a:gd name="connisteX7" fmla="*/ 171968 w 543470"/>
                  <a:gd name="connsiteY7" fmla="*/ 196620 h 287248"/>
                  <a:gd name="connisteX8" fmla="*/ 191018 w 543470"/>
                  <a:gd name="connsiteY8" fmla="*/ 101370 h 287248"/>
                  <a:gd name="connisteX9" fmla="*/ 295793 w 543470"/>
                  <a:gd name="connsiteY9" fmla="*/ 91845 h 287248"/>
                  <a:gd name="connisteX10" fmla="*/ 410093 w 543470"/>
                  <a:gd name="connsiteY10" fmla="*/ 110895 h 287248"/>
                  <a:gd name="connisteX11" fmla="*/ 457718 w 543470"/>
                  <a:gd name="connsiteY11" fmla="*/ 177570 h 287248"/>
                  <a:gd name="connisteX12" fmla="*/ 362468 w 543470"/>
                  <a:gd name="connsiteY12" fmla="*/ 263295 h 2872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543471" h="287248">
                    <a:moveTo>
                      <a:pt x="362468" y="263295"/>
                    </a:moveTo>
                    <a:cubicBezTo>
                      <a:pt x="379613" y="257580"/>
                      <a:pt x="541538" y="198525"/>
                      <a:pt x="543443" y="148995"/>
                    </a:cubicBezTo>
                    <a:cubicBezTo>
                      <a:pt x="545348" y="99465"/>
                      <a:pt x="448193" y="40410"/>
                      <a:pt x="371993" y="15645"/>
                    </a:cubicBezTo>
                    <a:cubicBezTo>
                      <a:pt x="295793" y="-9120"/>
                      <a:pt x="236738" y="-3405"/>
                      <a:pt x="162443" y="25170"/>
                    </a:cubicBezTo>
                    <a:cubicBezTo>
                      <a:pt x="88148" y="53745"/>
                      <a:pt x="8138" y="108990"/>
                      <a:pt x="518" y="158520"/>
                    </a:cubicBezTo>
                    <a:cubicBezTo>
                      <a:pt x="-7102" y="208050"/>
                      <a:pt x="71003" y="249960"/>
                      <a:pt x="124343" y="272820"/>
                    </a:cubicBezTo>
                    <a:cubicBezTo>
                      <a:pt x="177683" y="295680"/>
                      <a:pt x="257693" y="288060"/>
                      <a:pt x="267218" y="272820"/>
                    </a:cubicBezTo>
                    <a:cubicBezTo>
                      <a:pt x="276743" y="257580"/>
                      <a:pt x="187208" y="230910"/>
                      <a:pt x="171968" y="196620"/>
                    </a:cubicBezTo>
                    <a:cubicBezTo>
                      <a:pt x="156728" y="162330"/>
                      <a:pt x="166253" y="122325"/>
                      <a:pt x="191018" y="101370"/>
                    </a:cubicBezTo>
                    <a:cubicBezTo>
                      <a:pt x="215783" y="80415"/>
                      <a:pt x="251978" y="89940"/>
                      <a:pt x="295793" y="91845"/>
                    </a:cubicBezTo>
                    <a:cubicBezTo>
                      <a:pt x="339608" y="93750"/>
                      <a:pt x="377708" y="93750"/>
                      <a:pt x="410093" y="110895"/>
                    </a:cubicBezTo>
                    <a:cubicBezTo>
                      <a:pt x="442478" y="128040"/>
                      <a:pt x="467243" y="147090"/>
                      <a:pt x="457718" y="177570"/>
                    </a:cubicBezTo>
                    <a:cubicBezTo>
                      <a:pt x="448193" y="208050"/>
                      <a:pt x="345323" y="269010"/>
                      <a:pt x="362468" y="263295"/>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3" name="任意多边形 62"/>
            <p:cNvSpPr/>
            <p:nvPr>
              <p:custDataLst>
                <p:tags r:id="rId41"/>
              </p:custDataLst>
            </p:nvPr>
          </p:nvSpPr>
          <p:spPr>
            <a:xfrm>
              <a:off x="15518" y="8262"/>
              <a:ext cx="1402" cy="196"/>
            </a:xfrm>
            <a:custGeom>
              <a:avLst/>
              <a:gdLst>
                <a:gd name="connisteX0" fmla="*/ 2488 w 890007"/>
                <a:gd name="connsiteY0" fmla="*/ 28923 h 124650"/>
                <a:gd name="connisteX1" fmla="*/ 402538 w 890007"/>
                <a:gd name="connsiteY1" fmla="*/ 348 h 124650"/>
                <a:gd name="connisteX2" fmla="*/ 783538 w 890007"/>
                <a:gd name="connsiteY2" fmla="*/ 47973 h 124650"/>
                <a:gd name="connisteX3" fmla="*/ 888313 w 890007"/>
                <a:gd name="connsiteY3" fmla="*/ 114648 h 124650"/>
                <a:gd name="connisteX4" fmla="*/ 745438 w 890007"/>
                <a:gd name="connsiteY4" fmla="*/ 114648 h 124650"/>
                <a:gd name="connisteX5" fmla="*/ 497788 w 890007"/>
                <a:gd name="connsiteY5" fmla="*/ 47973 h 124650"/>
                <a:gd name="connisteX6" fmla="*/ 269188 w 890007"/>
                <a:gd name="connsiteY6" fmla="*/ 19398 h 124650"/>
                <a:gd name="connisteX7" fmla="*/ 2488 w 890007"/>
                <a:gd name="connsiteY7" fmla="*/ 28923 h 1246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890008" h="124650">
                  <a:moveTo>
                    <a:pt x="2489" y="28924"/>
                  </a:moveTo>
                  <a:cubicBezTo>
                    <a:pt x="29159" y="25114"/>
                    <a:pt x="246329" y="-3461"/>
                    <a:pt x="402539" y="349"/>
                  </a:cubicBezTo>
                  <a:cubicBezTo>
                    <a:pt x="558749" y="4159"/>
                    <a:pt x="686384" y="25114"/>
                    <a:pt x="783539" y="47974"/>
                  </a:cubicBezTo>
                  <a:cubicBezTo>
                    <a:pt x="880694" y="70834"/>
                    <a:pt x="895934" y="101314"/>
                    <a:pt x="888314" y="114649"/>
                  </a:cubicBezTo>
                  <a:cubicBezTo>
                    <a:pt x="880694" y="127984"/>
                    <a:pt x="823544" y="127984"/>
                    <a:pt x="745439" y="114649"/>
                  </a:cubicBezTo>
                  <a:cubicBezTo>
                    <a:pt x="667334" y="101314"/>
                    <a:pt x="593039" y="67024"/>
                    <a:pt x="497789" y="47974"/>
                  </a:cubicBezTo>
                  <a:cubicBezTo>
                    <a:pt x="402539" y="28924"/>
                    <a:pt x="368249" y="23209"/>
                    <a:pt x="269189" y="19399"/>
                  </a:cubicBezTo>
                  <a:cubicBezTo>
                    <a:pt x="170129" y="15589"/>
                    <a:pt x="-24181" y="32734"/>
                    <a:pt x="2489" y="28924"/>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任意多边形 63"/>
            <p:cNvSpPr/>
            <p:nvPr>
              <p:custDataLst>
                <p:tags r:id="rId42"/>
              </p:custDataLst>
            </p:nvPr>
          </p:nvSpPr>
          <p:spPr>
            <a:xfrm>
              <a:off x="14423" y="8518"/>
              <a:ext cx="589" cy="560"/>
            </a:xfrm>
            <a:custGeom>
              <a:avLst/>
              <a:gdLst>
                <a:gd name="connisteX0" fmla="*/ 97879 w 374209"/>
                <a:gd name="connsiteY0" fmla="*/ 314406 h 355543"/>
                <a:gd name="connisteX1" fmla="*/ 12154 w 374209"/>
                <a:gd name="connsiteY1" fmla="*/ 190581 h 355543"/>
                <a:gd name="connisteX2" fmla="*/ 12154 w 374209"/>
                <a:gd name="connsiteY2" fmla="*/ 81 h 355543"/>
                <a:gd name="connisteX3" fmla="*/ 88354 w 374209"/>
                <a:gd name="connsiteY3" fmla="*/ 209631 h 355543"/>
                <a:gd name="connisteX4" fmla="*/ 202654 w 374209"/>
                <a:gd name="connsiteY4" fmla="*/ 285831 h 355543"/>
                <a:gd name="connisteX5" fmla="*/ 374104 w 374209"/>
                <a:gd name="connsiteY5" fmla="*/ 342981 h 355543"/>
                <a:gd name="connisteX6" fmla="*/ 221704 w 374209"/>
                <a:gd name="connsiteY6" fmla="*/ 352506 h 355543"/>
                <a:gd name="connisteX7" fmla="*/ 97879 w 374209"/>
                <a:gd name="connsiteY7" fmla="*/ 314406 h 35554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74210" h="355544">
                  <a:moveTo>
                    <a:pt x="97880" y="314406"/>
                  </a:moveTo>
                  <a:cubicBezTo>
                    <a:pt x="55970" y="282021"/>
                    <a:pt x="29300" y="253446"/>
                    <a:pt x="12155" y="190581"/>
                  </a:cubicBezTo>
                  <a:cubicBezTo>
                    <a:pt x="-4990" y="127716"/>
                    <a:pt x="-3085" y="-3729"/>
                    <a:pt x="12155" y="81"/>
                  </a:cubicBezTo>
                  <a:cubicBezTo>
                    <a:pt x="27395" y="3891"/>
                    <a:pt x="50255" y="152481"/>
                    <a:pt x="88355" y="209631"/>
                  </a:cubicBezTo>
                  <a:cubicBezTo>
                    <a:pt x="126455" y="266781"/>
                    <a:pt x="145505" y="259161"/>
                    <a:pt x="202655" y="285831"/>
                  </a:cubicBezTo>
                  <a:cubicBezTo>
                    <a:pt x="259805" y="312501"/>
                    <a:pt x="370295" y="329646"/>
                    <a:pt x="374105" y="342981"/>
                  </a:cubicBezTo>
                  <a:cubicBezTo>
                    <a:pt x="377915" y="356316"/>
                    <a:pt x="276950" y="358221"/>
                    <a:pt x="221705" y="352506"/>
                  </a:cubicBezTo>
                  <a:cubicBezTo>
                    <a:pt x="166460" y="346791"/>
                    <a:pt x="139790" y="346791"/>
                    <a:pt x="97880" y="314406"/>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7" name="任意多边形 66"/>
            <p:cNvSpPr/>
            <p:nvPr>
              <p:custDataLst>
                <p:tags r:id="rId43"/>
              </p:custDataLst>
            </p:nvPr>
          </p:nvSpPr>
          <p:spPr>
            <a:xfrm>
              <a:off x="16513" y="8588"/>
              <a:ext cx="774" cy="536"/>
            </a:xfrm>
            <a:custGeom>
              <a:avLst/>
              <a:gdLst>
                <a:gd name="connisteX0" fmla="*/ 313610 w 491595"/>
                <a:gd name="connsiteY0" fmla="*/ 155752 h 340401"/>
                <a:gd name="connisteX1" fmla="*/ 427910 w 491595"/>
                <a:gd name="connsiteY1" fmla="*/ 212902 h 340401"/>
                <a:gd name="connisteX2" fmla="*/ 189785 w 491595"/>
                <a:gd name="connsiteY2" fmla="*/ 327202 h 340401"/>
                <a:gd name="connisteX3" fmla="*/ 389810 w 491595"/>
                <a:gd name="connsiteY3" fmla="*/ 327202 h 340401"/>
                <a:gd name="connisteX4" fmla="*/ 485060 w 491595"/>
                <a:gd name="connsiteY4" fmla="*/ 270052 h 340401"/>
                <a:gd name="connisteX5" fmla="*/ 418385 w 491595"/>
                <a:gd name="connsiteY5" fmla="*/ 98602 h 340401"/>
                <a:gd name="connisteX6" fmla="*/ 8810 w 491595"/>
                <a:gd name="connsiteY6" fmla="*/ 3352 h 340401"/>
                <a:gd name="connisteX7" fmla="*/ 180260 w 491595"/>
                <a:gd name="connsiteY7" fmla="*/ 41452 h 340401"/>
                <a:gd name="connisteX8" fmla="*/ 313610 w 491595"/>
                <a:gd name="connsiteY8" fmla="*/ 155752 h 34040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91595" h="340401">
                  <a:moveTo>
                    <a:pt x="313611" y="155753"/>
                  </a:moveTo>
                  <a:cubicBezTo>
                    <a:pt x="363141" y="190043"/>
                    <a:pt x="452676" y="178613"/>
                    <a:pt x="427911" y="212903"/>
                  </a:cubicBezTo>
                  <a:cubicBezTo>
                    <a:pt x="403146" y="247193"/>
                    <a:pt x="197406" y="304343"/>
                    <a:pt x="189786" y="327203"/>
                  </a:cubicBezTo>
                  <a:cubicBezTo>
                    <a:pt x="182166" y="350063"/>
                    <a:pt x="330756" y="338633"/>
                    <a:pt x="389811" y="327203"/>
                  </a:cubicBezTo>
                  <a:cubicBezTo>
                    <a:pt x="448866" y="315773"/>
                    <a:pt x="479346" y="315773"/>
                    <a:pt x="485061" y="270053"/>
                  </a:cubicBezTo>
                  <a:cubicBezTo>
                    <a:pt x="490776" y="224333"/>
                    <a:pt x="513636" y="151943"/>
                    <a:pt x="418386" y="98603"/>
                  </a:cubicBezTo>
                  <a:cubicBezTo>
                    <a:pt x="323136" y="45263"/>
                    <a:pt x="56436" y="14783"/>
                    <a:pt x="8811" y="3353"/>
                  </a:cubicBezTo>
                  <a:cubicBezTo>
                    <a:pt x="-38814" y="-8077"/>
                    <a:pt x="119301" y="10973"/>
                    <a:pt x="180261" y="41453"/>
                  </a:cubicBezTo>
                  <a:cubicBezTo>
                    <a:pt x="241221" y="71933"/>
                    <a:pt x="264081" y="121463"/>
                    <a:pt x="313611" y="155753"/>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44"/>
    </p:custDataLst>
  </p:cSld>
  <p:clrMapOvr>
    <a:masterClrMapping/>
  </p:clrMapOvr>
  <p:transition spd="slow">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880745"/>
            <a:ext cx="2948940" cy="922020"/>
          </a:xfrm>
          <a:prstGeom prst="rect">
            <a:avLst/>
          </a:prstGeom>
          <a:noFill/>
        </p:spPr>
        <p:txBody>
          <a:bodyPr wrap="square" rtlCol="0">
            <a:spAutoFit/>
          </a:bodyPr>
          <a:lstStyle/>
          <a:p>
            <a:pPr>
              <a:lnSpc>
                <a:spcPct val="150000"/>
              </a:lnSpc>
            </a:pPr>
            <a:r>
              <a:rPr lang="zh-CN" altLang="en-US" sz="3600" b="1">
                <a:solidFill>
                  <a:schemeClr val="lt1"/>
                </a:solidFill>
                <a:sym typeface="+mn-ea"/>
              </a:rPr>
              <a:t>遇险求救方法</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153015" cy="5169535"/>
          </a:xfrm>
          <a:prstGeom prst="rect">
            <a:avLst/>
          </a:prstGeom>
          <a:noFill/>
        </p:spPr>
        <p:txBody>
          <a:bodyPr wrap="square" rtlCol="0">
            <a:spAutoFit/>
          </a:bodyPr>
          <a:lstStyle/>
          <a:p>
            <a:pPr>
              <a:lnSpc>
                <a:spcPct val="150000"/>
              </a:lnSpc>
            </a:pPr>
            <a:r>
              <a:rPr sz="2000">
                <a:solidFill>
                  <a:schemeClr val="dk1"/>
                </a:solidFill>
              </a:rPr>
              <a:t>（3）抛物求救在高楼遇到危难时，可抛掷软物，如枕头、书本、空塑料瓶等，引起下面注意并指示方位。</a:t>
            </a:r>
            <a:endParaRPr sz="2000">
              <a:solidFill>
                <a:schemeClr val="dk1"/>
              </a:solidFill>
            </a:endParaRPr>
          </a:p>
          <a:p>
            <a:pPr>
              <a:lnSpc>
                <a:spcPct val="150000"/>
              </a:lnSpc>
            </a:pPr>
            <a:r>
              <a:rPr sz="2000">
                <a:solidFill>
                  <a:schemeClr val="dk1"/>
                </a:solidFill>
              </a:rPr>
              <a:t>（4）烟火求救在野外遇到危难时，连续点燃三堆火，中间距离最好相等。白天可燃烟（燃烧新鲜树枝、青草等植物产生浓烟），夜晚可点燃干柴，发出明亮耀眼的火光向周围求救。</a:t>
            </a:r>
            <a:endParaRPr sz="2000">
              <a:solidFill>
                <a:schemeClr val="dk1"/>
              </a:solidFill>
            </a:endParaRPr>
          </a:p>
          <a:p>
            <a:pPr>
              <a:lnSpc>
                <a:spcPct val="150000"/>
              </a:lnSpc>
            </a:pPr>
            <a:r>
              <a:rPr sz="2000">
                <a:solidFill>
                  <a:schemeClr val="dk1"/>
                </a:solidFill>
              </a:rPr>
              <a:t>（5）地面标志求救在比较开阔的地面，如草地、海滩、雪地上可以制作地面标志。利用树枝、石块、帐篷、衣物等一切可利用的材料。如把青草割成一定标志，或在雪地上踩出一定标志，与空中取得联系。请大家一定要记住这几个单词：SOS（求救）、SEND（送出）、DOCTOR（医生）HELP（帮助）、、INJURY（受伤）、TRAPPED（受困）、LOST（迷失）、WATER（水）。</a:t>
            </a:r>
            <a:endParaRPr sz="2000">
              <a:solidFill>
                <a:schemeClr val="dk1"/>
              </a:solidFill>
            </a:endParaRPr>
          </a:p>
          <a:p>
            <a:pPr>
              <a:lnSpc>
                <a:spcPct val="150000"/>
              </a:lnSpc>
            </a:pPr>
            <a:endParaRPr sz="2000">
              <a:solidFill>
                <a:schemeClr val="dk1"/>
              </a:solidFill>
            </a:endParaRPr>
          </a:p>
        </p:txBody>
      </p:sp>
    </p:spTree>
    <p:custDataLst>
      <p:tags r:id="rId12"/>
    </p:custDataLst>
  </p:cSld>
  <p:clrMapOvr>
    <a:masterClrMapping/>
  </p:clrMapOvr>
  <p:transition spd="slow">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880745"/>
            <a:ext cx="2948940" cy="922020"/>
          </a:xfrm>
          <a:prstGeom prst="rect">
            <a:avLst/>
          </a:prstGeom>
          <a:noFill/>
        </p:spPr>
        <p:txBody>
          <a:bodyPr wrap="square" rtlCol="0">
            <a:spAutoFit/>
          </a:bodyPr>
          <a:lstStyle/>
          <a:p>
            <a:pPr>
              <a:lnSpc>
                <a:spcPct val="150000"/>
              </a:lnSpc>
            </a:pPr>
            <a:r>
              <a:rPr lang="zh-CN" altLang="en-US" sz="3600" b="1">
                <a:solidFill>
                  <a:schemeClr val="lt1"/>
                </a:solidFill>
                <a:sym typeface="+mn-ea"/>
              </a:rPr>
              <a:t>遇险求救方法</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10153015" cy="4246245"/>
          </a:xfrm>
          <a:prstGeom prst="rect">
            <a:avLst/>
          </a:prstGeom>
          <a:noFill/>
        </p:spPr>
        <p:txBody>
          <a:bodyPr wrap="square" rtlCol="0">
            <a:spAutoFit/>
          </a:bodyPr>
          <a:lstStyle/>
          <a:p>
            <a:pPr>
              <a:lnSpc>
                <a:spcPct val="150000"/>
              </a:lnSpc>
            </a:pPr>
            <a:r>
              <a:rPr sz="2000">
                <a:solidFill>
                  <a:schemeClr val="dk1"/>
                </a:solidFill>
              </a:rPr>
              <a:t>（6）留下信息当离开危险地时，要留下一些信号物，以便让救援人员发现，及时了解你的位置或者去过的位置。一路上留下方向指示标，有助于营救者寻找你的行动路径，也有助于自己迷路时，作为向导。</a:t>
            </a:r>
            <a:endParaRPr sz="2000">
              <a:solidFill>
                <a:schemeClr val="dk1"/>
              </a:solidFill>
            </a:endParaRPr>
          </a:p>
          <a:p>
            <a:pPr>
              <a:lnSpc>
                <a:spcPct val="150000"/>
              </a:lnSpc>
            </a:pPr>
            <a:r>
              <a:rPr sz="2000">
                <a:solidFill>
                  <a:schemeClr val="dk1"/>
                </a:solidFill>
              </a:rPr>
              <a:t>（7）摩尔斯电码求救用摩尔斯电码发出SOS求救信号，是国际通用的紧急求救方式。此电码将S表示为“?”，即3个短信号；O表示为“———”，即3个长信号。长信号时间长度约是短信号的3倍。这样，SOS就可以用“三短、三长、三短”的任何信号来表示。可以利用光线，如开关手电筒、矿灯、应急灯、汽车大灯、室内照明灯甚至遮挡煤油灯等方法发送，也可以利用声音，如哨音、汽笛、汽车鸣号甚至敲击等方法发送。每发送一组SOS，停顿片刻再发下一组。</a:t>
            </a:r>
            <a:endParaRPr sz="2000">
              <a:solidFill>
                <a:schemeClr val="dk1"/>
              </a:solidFill>
            </a:endParaRPr>
          </a:p>
        </p:txBody>
      </p:sp>
    </p:spTree>
    <p:custDataLst>
      <p:tags r:id="rId12"/>
    </p:custDataLst>
  </p:cSld>
  <p:clrMapOvr>
    <a:masterClrMapping/>
  </p:clrMapOvr>
  <p:transition spd="slow">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custDataLst>
              <p:tags r:id="rId1"/>
            </p:custDataLst>
          </p:nvPr>
        </p:nvSpPr>
        <p:spPr>
          <a:xfrm>
            <a:off x="1055279" y="1484741"/>
            <a:ext cx="5284399" cy="1179607"/>
          </a:xfrm>
        </p:spPr>
        <p:txBody>
          <a:bodyPr>
            <a:noAutofit/>
          </a:bodyPr>
          <a:lstStyle/>
          <a:p>
            <a:r>
              <a:rPr sz="660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rPr>
              <a:t>感谢聆听</a:t>
            </a:r>
            <a:endParaRPr lang="zh-CN" altLang="en-US" sz="6600" spc="180" dirty="0">
              <a:solidFill>
                <a:schemeClr val="tx1">
                  <a:lumMod val="75000"/>
                  <a:lumOff val="25000"/>
                </a:schemeClr>
              </a:solidFill>
              <a:latin typeface="微软雅黑" panose="020B0503020204020204" charset="-122"/>
              <a:ea typeface="微软雅黑" panose="020B0503020204020204" charset="-122"/>
              <a:cs typeface="微软雅黑" panose="020B0503020204020204" charset="-122"/>
              <a:sym typeface="+mn-ea"/>
            </a:endParaRPr>
          </a:p>
        </p:txBody>
      </p:sp>
      <p:sp>
        <p:nvSpPr>
          <p:cNvPr id="13" name="矩形 12"/>
          <p:cNvSpPr/>
          <p:nvPr>
            <p:custDataLst>
              <p:tags r:id="rId2"/>
            </p:custDataLst>
          </p:nvPr>
        </p:nvSpPr>
        <p:spPr>
          <a:xfrm>
            <a:off x="7886065" y="4149090"/>
            <a:ext cx="3885565" cy="1584325"/>
          </a:xfrm>
          <a:prstGeom prst="rect">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pic>
        <p:nvPicPr>
          <p:cNvPr id="5" name="图片 4" descr="公众号二维码"/>
          <p:cNvPicPr>
            <a:picLocks noChangeAspect="1"/>
          </p:cNvPicPr>
          <p:nvPr/>
        </p:nvPicPr>
        <p:blipFill>
          <a:blip r:embed="rId3"/>
          <a:stretch>
            <a:fillRect/>
          </a:stretch>
        </p:blipFill>
        <p:spPr>
          <a:xfrm>
            <a:off x="9281795" y="4213215"/>
            <a:ext cx="1188000" cy="1188000"/>
          </a:xfrm>
          <a:prstGeom prst="rect">
            <a:avLst/>
          </a:prstGeom>
        </p:spPr>
      </p:pic>
      <p:sp>
        <p:nvSpPr>
          <p:cNvPr id="2" name="文本框 1"/>
          <p:cNvSpPr txBox="1"/>
          <p:nvPr>
            <p:custDataLst>
              <p:tags r:id="rId4"/>
            </p:custDataLst>
          </p:nvPr>
        </p:nvSpPr>
        <p:spPr>
          <a:xfrm>
            <a:off x="7932913" y="4498587"/>
            <a:ext cx="1257935" cy="869315"/>
          </a:xfrm>
          <a:prstGeom prst="rect">
            <a:avLst/>
          </a:prstGeom>
          <a:solidFill>
            <a:schemeClr val="lt2"/>
          </a:solidFill>
        </p:spPr>
        <p:txBody>
          <a:bodyPr wrap="square" rtlCol="0">
            <a:noAutofit/>
          </a:bodyPr>
          <a:lstStyle/>
          <a:p>
            <a:pPr algn="ctr" latinLnBrk="0">
              <a:lnSpc>
                <a:spcPct val="100000"/>
              </a:lnSpc>
              <a:spcAft>
                <a:spcPts val="1200"/>
              </a:spcAft>
            </a:pPr>
            <a:r>
              <a:rPr lang="zh-CN" altLang="en-US" sz="1400" dirty="0">
                <a:solidFill>
                  <a:schemeClr val="accent5">
                    <a:lumMod val="50000"/>
                  </a:schemeClr>
                </a:solidFill>
                <a:latin typeface="宋体" panose="02010600030101010101" pitchFamily="2" charset="-122"/>
                <a:ea typeface="宋体" panose="02010600030101010101" pitchFamily="2" charset="-122"/>
              </a:rPr>
              <a:t>扫码关注我们</a:t>
            </a:r>
            <a:endParaRPr lang="zh-CN" altLang="en-US" sz="1400" dirty="0">
              <a:solidFill>
                <a:schemeClr val="accent5">
                  <a:lumMod val="50000"/>
                </a:schemeClr>
              </a:solidFill>
              <a:latin typeface="宋体" panose="02010600030101010101" pitchFamily="2" charset="-122"/>
              <a:ea typeface="宋体" panose="02010600030101010101" pitchFamily="2" charset="-122"/>
            </a:endParaRPr>
          </a:p>
          <a:p>
            <a:pPr algn="ctr" latinLnBrk="0">
              <a:lnSpc>
                <a:spcPct val="100000"/>
              </a:lnSpc>
              <a:spcAft>
                <a:spcPts val="1200"/>
              </a:spcAft>
            </a:pPr>
            <a:r>
              <a:rPr lang="zh-CN" altLang="en-US" sz="1400" b="1" dirty="0">
                <a:solidFill>
                  <a:schemeClr val="accent5">
                    <a:lumMod val="50000"/>
                  </a:schemeClr>
                </a:solidFill>
                <a:latin typeface="微软雅黑" panose="020B0503020204020204" charset="-122"/>
                <a:ea typeface="微软雅黑" panose="020B0503020204020204" charset="-122"/>
              </a:rPr>
              <a:t>获取第一手安全资讯</a:t>
            </a:r>
            <a:endParaRPr lang="zh-CN" altLang="en-US" sz="1400" b="1" dirty="0">
              <a:solidFill>
                <a:schemeClr val="accent5">
                  <a:lumMod val="50000"/>
                </a:schemeClr>
              </a:solidFill>
              <a:latin typeface="微软雅黑" panose="020B0503020204020204" charset="-122"/>
              <a:ea typeface="微软雅黑" panose="020B0503020204020204" charset="-122"/>
            </a:endParaRPr>
          </a:p>
        </p:txBody>
      </p:sp>
      <p:pic>
        <p:nvPicPr>
          <p:cNvPr id="4" name="图片 3"/>
          <p:cNvPicPr>
            <a:picLocks noChangeAspect="1"/>
          </p:cNvPicPr>
          <p:nvPr/>
        </p:nvPicPr>
        <p:blipFill rotWithShape="1">
          <a:blip r:embed="rId5" cstate="print">
            <a:extLst>
              <a:ext uri="{28A0092B-C50C-407E-A947-70E740481C1C}">
                <a14:useLocalDpi xmlns:a14="http://schemas.microsoft.com/office/drawing/2010/main" val="0"/>
              </a:ext>
            </a:extLst>
          </a:blip>
          <a:srcRect l="17072" t="14301" r="17073" b="42649"/>
          <a:stretch>
            <a:fillRect/>
          </a:stretch>
        </p:blipFill>
        <p:spPr>
          <a:xfrm>
            <a:off x="10560685" y="4267191"/>
            <a:ext cx="1106729" cy="1080000"/>
          </a:xfrm>
          <a:prstGeom prst="rect">
            <a:avLst/>
          </a:prstGeom>
        </p:spPr>
      </p:pic>
      <p:sp>
        <p:nvSpPr>
          <p:cNvPr id="7" name="文本框 6"/>
          <p:cNvSpPr txBox="1"/>
          <p:nvPr>
            <p:custDataLst>
              <p:tags r:id="rId6"/>
            </p:custDataLst>
          </p:nvPr>
        </p:nvSpPr>
        <p:spPr>
          <a:xfrm>
            <a:off x="1703961" y="4292843"/>
            <a:ext cx="4020049" cy="1006475"/>
          </a:xfrm>
          <a:prstGeom prst="rect">
            <a:avLst/>
          </a:prstGeom>
          <a:noFill/>
        </p:spPr>
        <p:txBody>
          <a:bodyPr wrap="square" rtlCol="0">
            <a:spAutoFit/>
            <a:scene3d>
              <a:camera prst="orthographicFront"/>
              <a:lightRig rig="threePt" dir="t"/>
            </a:scene3d>
            <a:sp3d contourW="12700"/>
          </a:bodyPr>
          <a:lstStyle/>
          <a:p>
            <a:pPr algn="ctr">
              <a:lnSpc>
                <a:spcPct val="100000"/>
              </a:lnSpc>
              <a:spcAft>
                <a:spcPts val="600"/>
              </a:spcAft>
              <a:buClrTx/>
              <a:buSzTx/>
              <a:buNone/>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lt"/>
              </a:rPr>
              <a:t>如需进一步沟通</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lt"/>
            </a:endParaRPr>
          </a:p>
          <a:p>
            <a:pPr algn="ctr">
              <a:lnSpc>
                <a:spcPct val="100000"/>
              </a:lnSpc>
              <a:spcAft>
                <a:spcPts val="600"/>
              </a:spcAft>
              <a:buClrTx/>
              <a:buSzTx/>
              <a:buNone/>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sym typeface="+mn-ea"/>
              </a:rPr>
              <a:t>↓↓↓</a:t>
            </a:r>
            <a:endParaRPr lang="zh-CN" altLang="en-US" sz="1400" b="1" dirty="0">
              <a:solidFill>
                <a:schemeClr val="accent1">
                  <a:lumMod val="50000"/>
                </a:schemeClr>
              </a:solidFill>
              <a:cs typeface="+mn-ea"/>
              <a:sym typeface="+mn-lt"/>
            </a:endParaRPr>
          </a:p>
          <a:p>
            <a:pPr algn="ctr">
              <a:lnSpc>
                <a:spcPct val="125000"/>
              </a:lnSpc>
            </a:pPr>
            <a:r>
              <a:rPr lang="zh-CN" altLang="en-US" sz="1400" b="1" dirty="0">
                <a:solidFill>
                  <a:schemeClr val="accent5">
                    <a:lumMod val="50000"/>
                  </a:schemeClr>
                </a:solidFill>
                <a:cs typeface="+mn-ea"/>
                <a:sym typeface="+mn-lt"/>
              </a:rPr>
              <a:t>联系我们 </a:t>
            </a:r>
            <a:r>
              <a:rPr lang="en-US" altLang="zh-CN" sz="1400" dirty="0">
                <a:solidFill>
                  <a:schemeClr val="accent5">
                    <a:lumMod val="50000"/>
                  </a:schemeClr>
                </a:solidFill>
                <a:cs typeface="+mn-ea"/>
                <a:sym typeface="+mn-lt"/>
              </a:rPr>
              <a:t>| </a:t>
            </a:r>
            <a:r>
              <a:rPr lang="en-US" altLang="zh-CN" sz="1400" kern="900" dirty="0">
                <a:solidFill>
                  <a:schemeClr val="accent5">
                    <a:lumMod val="50000"/>
                  </a:schemeClr>
                </a:solidFill>
                <a:cs typeface="+mn-ea"/>
                <a:sym typeface="+mn-lt"/>
              </a:rPr>
              <a:t>15250014332 / 0512-68637852</a:t>
            </a:r>
            <a:endParaRPr lang="en-US" altLang="zh-CN" sz="1400" kern="900" dirty="0">
              <a:solidFill>
                <a:schemeClr val="accent5">
                  <a:lumMod val="50000"/>
                </a:schemeClr>
              </a:solidFill>
              <a:cs typeface="+mn-ea"/>
              <a:sym typeface="+mn-lt"/>
            </a:endParaRPr>
          </a:p>
        </p:txBody>
      </p:sp>
      <p:sp>
        <p:nvSpPr>
          <p:cNvPr id="8" name="文本框 7"/>
          <p:cNvSpPr txBox="1"/>
          <p:nvPr/>
        </p:nvSpPr>
        <p:spPr>
          <a:xfrm>
            <a:off x="2124711" y="2996952"/>
            <a:ext cx="3146425" cy="1048385"/>
          </a:xfrm>
          <a:prstGeom prst="rect">
            <a:avLst/>
          </a:prstGeom>
          <a:noFill/>
        </p:spPr>
        <p:txBody>
          <a:bodyPr wrap="square" rtlCol="0">
            <a:noAutofit/>
            <a:scene3d>
              <a:camera prst="orthographicFront"/>
              <a:lightRig rig="threePt" dir="t"/>
            </a:scene3d>
          </a:bodyPr>
          <a:lstStyle/>
          <a:p>
            <a:pPr algn="ctr" latinLnBrk="0">
              <a:spcAft>
                <a:spcPts val="600"/>
              </a:spcAft>
            </a:pPr>
            <a:r>
              <a:rPr lang="zh-CN" altLang="en-US" sz="1600" b="1" dirty="0">
                <a:solidFill>
                  <a:schemeClr val="accent1">
                    <a:lumMod val="50000"/>
                  </a:schemeClr>
                </a:solidFill>
                <a:effectLst>
                  <a:outerShdw blurRad="38100" dist="19050" dir="2700000" algn="tl" rotWithShape="0">
                    <a:schemeClr val="dk1">
                      <a:alpha val="40000"/>
                    </a:schemeClr>
                  </a:outerShdw>
                </a:effectLst>
                <a:cs typeface="+mn-ea"/>
              </a:rPr>
              <a:t>资源整合，产品服务</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endParaRPr>
          </a:p>
          <a:p>
            <a:pPr algn="ctr" latinLnBrk="0">
              <a:spcAft>
                <a:spcPts val="600"/>
              </a:spcAft>
            </a:pPr>
            <a:r>
              <a:rPr lang="en-US" altLang="zh-CN" sz="1600" b="1" dirty="0">
                <a:solidFill>
                  <a:schemeClr val="accent1">
                    <a:lumMod val="50000"/>
                  </a:schemeClr>
                </a:solidFill>
                <a:effectLst>
                  <a:outerShdw blurRad="38100" dist="19050" dir="2700000" algn="tl" rotWithShape="0">
                    <a:schemeClr val="dk1">
                      <a:alpha val="40000"/>
                    </a:schemeClr>
                  </a:outerShdw>
                </a:effectLst>
                <a:cs typeface="+mn-ea"/>
              </a:rPr>
              <a:t>↓↓↓</a:t>
            </a:r>
            <a:endParaRPr lang="zh-CN" altLang="en-US" sz="1600" b="1" dirty="0">
              <a:solidFill>
                <a:schemeClr val="accent1">
                  <a:lumMod val="50000"/>
                </a:schemeClr>
              </a:solidFill>
              <a:effectLst>
                <a:outerShdw blurRad="38100" dist="19050" dir="2700000" algn="tl" rotWithShape="0">
                  <a:schemeClr val="dk1">
                    <a:alpha val="40000"/>
                  </a:schemeClr>
                </a:outerShdw>
              </a:effectLst>
              <a:cs typeface="+mn-ea"/>
            </a:endParaRPr>
          </a:p>
          <a:p>
            <a:pPr algn="ctr"/>
            <a:r>
              <a:rPr lang="zh-CN" altLang="en-US" sz="1400" b="1" dirty="0">
                <a:solidFill>
                  <a:schemeClr val="accent5">
                    <a:lumMod val="50000"/>
                  </a:schemeClr>
                </a:solidFill>
                <a:cs typeface="+mn-ea"/>
                <a:sym typeface="+mn-lt"/>
              </a:rPr>
              <a:t>公司官网</a:t>
            </a:r>
            <a:r>
              <a:rPr lang="zh-CN" altLang="en-US" sz="1600" b="1" dirty="0">
                <a:solidFill>
                  <a:schemeClr val="accent5">
                    <a:lumMod val="50000"/>
                  </a:schemeClr>
                </a:solidFill>
                <a:cs typeface="+mn-ea"/>
                <a:sym typeface="+mn-lt"/>
              </a:rPr>
              <a:t> </a:t>
            </a:r>
            <a:r>
              <a:rPr lang="en-US" altLang="zh-CN" sz="1600" dirty="0">
                <a:solidFill>
                  <a:schemeClr val="accent5">
                    <a:lumMod val="50000"/>
                  </a:schemeClr>
                </a:solidFill>
                <a:cs typeface="+mn-ea"/>
                <a:sym typeface="+mn-lt"/>
              </a:rPr>
              <a:t>| </a:t>
            </a:r>
            <a:r>
              <a:rPr lang="en-US" altLang="zh-CN" sz="1600" dirty="0">
                <a:solidFill>
                  <a:schemeClr val="accent5">
                    <a:lumMod val="50000"/>
                  </a:schemeClr>
                </a:solidFill>
                <a:cs typeface="+mn-ea"/>
                <a:sym typeface="+mn-lt"/>
                <a:hlinkClick r:id="rId7"/>
              </a:rPr>
              <a:t>http://www.bofety.com/</a:t>
            </a:r>
            <a:endParaRPr lang="zh-CN" altLang="en-US" sz="1600" b="1" dirty="0">
              <a:solidFill>
                <a:schemeClr val="tx1"/>
              </a:solidFill>
              <a:effectLst>
                <a:outerShdw blurRad="38100" dist="19050" dir="2700000" algn="tl" rotWithShape="0">
                  <a:schemeClr val="dk1">
                    <a:alpha val="40000"/>
                  </a:schemeClr>
                </a:outerShdw>
              </a:effectLst>
              <a:cs typeface="+mn-ea"/>
            </a:endParaRPr>
          </a:p>
        </p:txBody>
      </p:sp>
      <p:sp>
        <p:nvSpPr>
          <p:cNvPr id="3" name="文本框 2"/>
          <p:cNvSpPr txBox="1"/>
          <p:nvPr/>
        </p:nvSpPr>
        <p:spPr>
          <a:xfrm>
            <a:off x="9408368" y="5401215"/>
            <a:ext cx="936104" cy="260350"/>
          </a:xfrm>
          <a:prstGeom prst="rect">
            <a:avLst/>
          </a:prstGeom>
          <a:noFill/>
        </p:spPr>
        <p:txBody>
          <a:bodyPr wrap="square" rtlCol="0">
            <a:spAutoFit/>
          </a:bodyPr>
          <a:lstStyle/>
          <a:p>
            <a:pPr algn="ctr"/>
            <a:r>
              <a:rPr lang="zh-CN" altLang="en-US" sz="1100" dirty="0"/>
              <a:t>微信公众号</a:t>
            </a:r>
            <a:endParaRPr lang="zh-CN" altLang="en-US" sz="1100" dirty="0"/>
          </a:p>
        </p:txBody>
      </p:sp>
      <p:sp>
        <p:nvSpPr>
          <p:cNvPr id="9" name="文本框 8"/>
          <p:cNvSpPr txBox="1"/>
          <p:nvPr/>
        </p:nvSpPr>
        <p:spPr>
          <a:xfrm>
            <a:off x="10589999" y="5399960"/>
            <a:ext cx="936104" cy="260350"/>
          </a:xfrm>
          <a:prstGeom prst="rect">
            <a:avLst/>
          </a:prstGeom>
          <a:noFill/>
        </p:spPr>
        <p:txBody>
          <a:bodyPr wrap="square" rtlCol="0">
            <a:spAutoFit/>
          </a:bodyPr>
          <a:lstStyle/>
          <a:p>
            <a:pPr algn="ctr"/>
            <a:r>
              <a:rPr lang="zh-CN" altLang="en-US" sz="1100" dirty="0"/>
              <a:t>抖音</a:t>
            </a:r>
            <a:endParaRPr lang="zh-CN" altLang="en-US" sz="1100" dirty="0"/>
          </a:p>
        </p:txBody>
      </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effectLst>
                  <a:outerShdw blurRad="38100" dist="38100" dir="2700000" algn="tl">
                    <a:srgbClr val="000000">
                      <a:alpha val="43137"/>
                    </a:srgbClr>
                  </a:outerShdw>
                </a:effectLst>
              </a:rPr>
              <a:t>台风</a:t>
            </a:r>
            <a:endParaRPr lang="zh-CN" altLang="en-US" sz="3600" b="1">
              <a:solidFill>
                <a:schemeClr val="lt1"/>
              </a:solidFill>
              <a:effectLst>
                <a:outerShdw blurRad="38100" dist="38100" dir="2700000" algn="tl">
                  <a:srgbClr val="000000">
                    <a:alpha val="43137"/>
                  </a:srgbClr>
                </a:outerShdw>
              </a:effectLst>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69" name="组合 68"/>
          <p:cNvGrpSpPr/>
          <p:nvPr/>
        </p:nvGrpSpPr>
        <p:grpSpPr>
          <a:xfrm>
            <a:off x="8750300" y="1050290"/>
            <a:ext cx="2542540" cy="1466850"/>
            <a:chOff x="13932" y="7663"/>
            <a:chExt cx="4004" cy="2310"/>
          </a:xfrm>
        </p:grpSpPr>
        <p:sp>
          <p:nvSpPr>
            <p:cNvPr id="68" name="矩形 67"/>
            <p:cNvSpPr/>
            <p:nvPr>
              <p:custDataLst>
                <p:tags r:id="rId11"/>
              </p:custDataLst>
            </p:nvPr>
          </p:nvSpPr>
          <p:spPr>
            <a:xfrm>
              <a:off x="13932" y="7663"/>
              <a:ext cx="4005" cy="23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62" name="组合 61"/>
            <p:cNvGrpSpPr/>
            <p:nvPr/>
          </p:nvGrpSpPr>
          <p:grpSpPr>
            <a:xfrm>
              <a:off x="14216" y="8167"/>
              <a:ext cx="3479" cy="1594"/>
              <a:chOff x="14171" y="7725"/>
              <a:chExt cx="4138" cy="2719"/>
            </a:xfrm>
            <a:solidFill>
              <a:schemeClr val="bg2">
                <a:lumMod val="90000"/>
              </a:schemeClr>
            </a:solidFill>
          </p:grpSpPr>
          <p:sp>
            <p:nvSpPr>
              <p:cNvPr id="55" name="任意多边形 54"/>
              <p:cNvSpPr/>
              <p:nvPr>
                <p:custDataLst>
                  <p:tags r:id="rId12"/>
                </p:custDataLst>
              </p:nvPr>
            </p:nvSpPr>
            <p:spPr>
              <a:xfrm>
                <a:off x="14738" y="7725"/>
                <a:ext cx="2947" cy="1177"/>
              </a:xfrm>
              <a:custGeom>
                <a:avLst/>
                <a:gdLst>
                  <a:gd name="connisteX0" fmla="*/ 1545331 w 1871299"/>
                  <a:gd name="connsiteY0" fmla="*/ 75017 h 747497"/>
                  <a:gd name="connisteX1" fmla="*/ 688081 w 1871299"/>
                  <a:gd name="connsiteY1" fmla="*/ 17867 h 747497"/>
                  <a:gd name="connisteX2" fmla="*/ 49906 w 1871299"/>
                  <a:gd name="connsiteY2" fmla="*/ 322667 h 747497"/>
                  <a:gd name="connisteX3" fmla="*/ 154681 w 1871299"/>
                  <a:gd name="connsiteY3" fmla="*/ 694142 h 747497"/>
                  <a:gd name="connisteX4" fmla="*/ 716656 w 1871299"/>
                  <a:gd name="connsiteY4" fmla="*/ 732242 h 747497"/>
                  <a:gd name="connisteX5" fmla="*/ 535681 w 1871299"/>
                  <a:gd name="connsiteY5" fmla="*/ 646517 h 747497"/>
                  <a:gd name="connisteX6" fmla="*/ 288031 w 1871299"/>
                  <a:gd name="connsiteY6" fmla="*/ 551267 h 747497"/>
                  <a:gd name="connisteX7" fmla="*/ 507106 w 1871299"/>
                  <a:gd name="connsiteY7" fmla="*/ 332192 h 747497"/>
                  <a:gd name="connisteX8" fmla="*/ 1030981 w 1871299"/>
                  <a:gd name="connsiteY8" fmla="*/ 313142 h 747497"/>
                  <a:gd name="connisteX9" fmla="*/ 1631056 w 1871299"/>
                  <a:gd name="connsiteY9" fmla="*/ 436967 h 747497"/>
                  <a:gd name="connisteX10" fmla="*/ 1869181 w 1871299"/>
                  <a:gd name="connsiteY10" fmla="*/ 227417 h 747497"/>
                  <a:gd name="connisteX11" fmla="*/ 1545331 w 1871299"/>
                  <a:gd name="connsiteY11" fmla="*/ 75017 h 74749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871299" h="747498">
                    <a:moveTo>
                      <a:pt x="1545331" y="75018"/>
                    </a:moveTo>
                    <a:cubicBezTo>
                      <a:pt x="1309111" y="33108"/>
                      <a:pt x="987166" y="-31662"/>
                      <a:pt x="688081" y="17868"/>
                    </a:cubicBezTo>
                    <a:cubicBezTo>
                      <a:pt x="388996" y="67398"/>
                      <a:pt x="156586" y="187413"/>
                      <a:pt x="49906" y="322668"/>
                    </a:cubicBezTo>
                    <a:cubicBezTo>
                      <a:pt x="-56774" y="457923"/>
                      <a:pt x="21331" y="612228"/>
                      <a:pt x="154681" y="694143"/>
                    </a:cubicBezTo>
                    <a:cubicBezTo>
                      <a:pt x="288031" y="776058"/>
                      <a:pt x="640456" y="741768"/>
                      <a:pt x="716656" y="732243"/>
                    </a:cubicBezTo>
                    <a:cubicBezTo>
                      <a:pt x="792856" y="722718"/>
                      <a:pt x="621406" y="682713"/>
                      <a:pt x="535681" y="646518"/>
                    </a:cubicBezTo>
                    <a:cubicBezTo>
                      <a:pt x="449956" y="610323"/>
                      <a:pt x="293746" y="614133"/>
                      <a:pt x="288031" y="551268"/>
                    </a:cubicBezTo>
                    <a:cubicBezTo>
                      <a:pt x="282316" y="488403"/>
                      <a:pt x="358516" y="379818"/>
                      <a:pt x="507106" y="332193"/>
                    </a:cubicBezTo>
                    <a:cubicBezTo>
                      <a:pt x="655696" y="284568"/>
                      <a:pt x="806191" y="292188"/>
                      <a:pt x="1030981" y="313143"/>
                    </a:cubicBezTo>
                    <a:cubicBezTo>
                      <a:pt x="1255771" y="334098"/>
                      <a:pt x="1463416" y="454113"/>
                      <a:pt x="1631056" y="436968"/>
                    </a:cubicBezTo>
                    <a:cubicBezTo>
                      <a:pt x="1798696" y="419823"/>
                      <a:pt x="1886326" y="299808"/>
                      <a:pt x="1869181" y="227418"/>
                    </a:cubicBezTo>
                    <a:cubicBezTo>
                      <a:pt x="1852036" y="155028"/>
                      <a:pt x="1781551" y="116928"/>
                      <a:pt x="1545331" y="75018"/>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任意多边形 55"/>
              <p:cNvSpPr/>
              <p:nvPr>
                <p:custDataLst>
                  <p:tags r:id="rId13"/>
                </p:custDataLst>
              </p:nvPr>
            </p:nvSpPr>
            <p:spPr>
              <a:xfrm>
                <a:off x="15773" y="8365"/>
                <a:ext cx="2078" cy="1239"/>
              </a:xfrm>
              <a:custGeom>
                <a:avLst/>
                <a:gdLst>
                  <a:gd name="connisteX0" fmla="*/ 126179 w 1319275"/>
                  <a:gd name="connsiteY0" fmla="*/ 2005 h 786605"/>
                  <a:gd name="connisteX1" fmla="*/ 745304 w 1319275"/>
                  <a:gd name="connsiteY1" fmla="*/ 49630 h 786605"/>
                  <a:gd name="connisteX2" fmla="*/ 1231079 w 1319275"/>
                  <a:gd name="connsiteY2" fmla="*/ 249655 h 786605"/>
                  <a:gd name="connisteX3" fmla="*/ 1297754 w 1319275"/>
                  <a:gd name="connsiteY3" fmla="*/ 563980 h 786605"/>
                  <a:gd name="connisteX4" fmla="*/ 1078679 w 1319275"/>
                  <a:gd name="connsiteY4" fmla="*/ 668755 h 786605"/>
                  <a:gd name="connisteX5" fmla="*/ 716729 w 1319275"/>
                  <a:gd name="connsiteY5" fmla="*/ 783055 h 786605"/>
                  <a:gd name="connisteX6" fmla="*/ 888179 w 1319275"/>
                  <a:gd name="connsiteY6" fmla="*/ 554455 h 786605"/>
                  <a:gd name="connisteX7" fmla="*/ 1031054 w 1319275"/>
                  <a:gd name="connsiteY7" fmla="*/ 392530 h 786605"/>
                  <a:gd name="connisteX8" fmla="*/ 869129 w 1319275"/>
                  <a:gd name="connsiteY8" fmla="*/ 278230 h 786605"/>
                  <a:gd name="connisteX9" fmla="*/ 611954 w 1319275"/>
                  <a:gd name="connsiteY9" fmla="*/ 144880 h 786605"/>
                  <a:gd name="connisteX10" fmla="*/ 373829 w 1319275"/>
                  <a:gd name="connsiteY10" fmla="*/ 78205 h 786605"/>
                  <a:gd name="connisteX11" fmla="*/ 183329 w 1319275"/>
                  <a:gd name="connsiteY11" fmla="*/ 59155 h 786605"/>
                  <a:gd name="connisteX12" fmla="*/ 278579 w 1319275"/>
                  <a:gd name="connsiteY12" fmla="*/ 202030 h 786605"/>
                  <a:gd name="connisteX13" fmla="*/ 135704 w 1319275"/>
                  <a:gd name="connsiteY13" fmla="*/ 192505 h 786605"/>
                  <a:gd name="connisteX14" fmla="*/ 2354 w 1319275"/>
                  <a:gd name="connsiteY14" fmla="*/ 78205 h 786605"/>
                  <a:gd name="connisteX15" fmla="*/ 126179 w 1319275"/>
                  <a:gd name="connsiteY15" fmla="*/ 2005 h 78660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1319275" h="786606">
                    <a:moveTo>
                      <a:pt x="126180" y="2006"/>
                    </a:moveTo>
                    <a:cubicBezTo>
                      <a:pt x="274770" y="-3709"/>
                      <a:pt x="524325" y="101"/>
                      <a:pt x="745305" y="49631"/>
                    </a:cubicBezTo>
                    <a:cubicBezTo>
                      <a:pt x="966285" y="99161"/>
                      <a:pt x="1120590" y="146786"/>
                      <a:pt x="1231080" y="249656"/>
                    </a:cubicBezTo>
                    <a:cubicBezTo>
                      <a:pt x="1341570" y="352526"/>
                      <a:pt x="1328235" y="480161"/>
                      <a:pt x="1297755" y="563981"/>
                    </a:cubicBezTo>
                    <a:cubicBezTo>
                      <a:pt x="1267275" y="647801"/>
                      <a:pt x="1194885" y="624941"/>
                      <a:pt x="1078680" y="668756"/>
                    </a:cubicBezTo>
                    <a:cubicBezTo>
                      <a:pt x="962475" y="712571"/>
                      <a:pt x="754830" y="805916"/>
                      <a:pt x="716730" y="783056"/>
                    </a:cubicBezTo>
                    <a:cubicBezTo>
                      <a:pt x="678630" y="760196"/>
                      <a:pt x="825315" y="632561"/>
                      <a:pt x="888180" y="554456"/>
                    </a:cubicBezTo>
                    <a:cubicBezTo>
                      <a:pt x="951045" y="476351"/>
                      <a:pt x="1034865" y="447776"/>
                      <a:pt x="1031055" y="392531"/>
                    </a:cubicBezTo>
                    <a:cubicBezTo>
                      <a:pt x="1027245" y="337286"/>
                      <a:pt x="952950" y="327761"/>
                      <a:pt x="869130" y="278231"/>
                    </a:cubicBezTo>
                    <a:cubicBezTo>
                      <a:pt x="785310" y="228701"/>
                      <a:pt x="711015" y="184886"/>
                      <a:pt x="611955" y="144881"/>
                    </a:cubicBezTo>
                    <a:cubicBezTo>
                      <a:pt x="512895" y="104876"/>
                      <a:pt x="459555" y="95351"/>
                      <a:pt x="373830" y="78206"/>
                    </a:cubicBezTo>
                    <a:cubicBezTo>
                      <a:pt x="288105" y="61061"/>
                      <a:pt x="202380" y="34391"/>
                      <a:pt x="183330" y="59156"/>
                    </a:cubicBezTo>
                    <a:cubicBezTo>
                      <a:pt x="164280" y="83921"/>
                      <a:pt x="288105" y="175361"/>
                      <a:pt x="278580" y="202031"/>
                    </a:cubicBezTo>
                    <a:cubicBezTo>
                      <a:pt x="269055" y="228701"/>
                      <a:pt x="190950" y="217271"/>
                      <a:pt x="135705" y="192506"/>
                    </a:cubicBezTo>
                    <a:cubicBezTo>
                      <a:pt x="80460" y="167741"/>
                      <a:pt x="4260" y="116306"/>
                      <a:pt x="2355" y="78206"/>
                    </a:cubicBezTo>
                    <a:cubicBezTo>
                      <a:pt x="450" y="40106"/>
                      <a:pt x="-22410" y="7721"/>
                      <a:pt x="126180" y="2006"/>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14"/>
                </p:custDataLst>
              </p:nvPr>
            </p:nvSpPr>
            <p:spPr>
              <a:xfrm>
                <a:off x="15189" y="8958"/>
                <a:ext cx="1504" cy="943"/>
              </a:xfrm>
              <a:custGeom>
                <a:avLst/>
                <a:gdLst>
                  <a:gd name="connisteX0" fmla="*/ 925867 w 954799"/>
                  <a:gd name="connsiteY0" fmla="*/ 25316 h 598728"/>
                  <a:gd name="connisteX1" fmla="*/ 944917 w 954799"/>
                  <a:gd name="connsiteY1" fmla="*/ 349166 h 598728"/>
                  <a:gd name="connisteX2" fmla="*/ 782992 w 954799"/>
                  <a:gd name="connsiteY2" fmla="*/ 530141 h 598728"/>
                  <a:gd name="connisteX3" fmla="*/ 478192 w 954799"/>
                  <a:gd name="connsiteY3" fmla="*/ 596816 h 598728"/>
                  <a:gd name="connisteX4" fmla="*/ 59092 w 954799"/>
                  <a:gd name="connsiteY4" fmla="*/ 482516 h 598728"/>
                  <a:gd name="connisteX5" fmla="*/ 49567 w 954799"/>
                  <a:gd name="connsiteY5" fmla="*/ 349166 h 598728"/>
                  <a:gd name="connisteX6" fmla="*/ 354367 w 954799"/>
                  <a:gd name="connsiteY6" fmla="*/ 444416 h 598728"/>
                  <a:gd name="connisteX7" fmla="*/ 659167 w 954799"/>
                  <a:gd name="connsiteY7" fmla="*/ 406316 h 598728"/>
                  <a:gd name="connisteX8" fmla="*/ 868717 w 954799"/>
                  <a:gd name="connsiteY8" fmla="*/ 244391 h 598728"/>
                  <a:gd name="connisteX9" fmla="*/ 916342 w 954799"/>
                  <a:gd name="connsiteY9" fmla="*/ 63416 h 598728"/>
                  <a:gd name="connisteX10" fmla="*/ 925867 w 954799"/>
                  <a:gd name="connsiteY10" fmla="*/ 25316 h 5987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954800" h="598728">
                    <a:moveTo>
                      <a:pt x="925867" y="25317"/>
                    </a:moveTo>
                    <a:cubicBezTo>
                      <a:pt x="931582" y="82467"/>
                      <a:pt x="973492" y="248202"/>
                      <a:pt x="944917" y="349167"/>
                    </a:cubicBezTo>
                    <a:cubicBezTo>
                      <a:pt x="916342" y="450132"/>
                      <a:pt x="876337" y="480612"/>
                      <a:pt x="782992" y="530142"/>
                    </a:cubicBezTo>
                    <a:cubicBezTo>
                      <a:pt x="689647" y="579672"/>
                      <a:pt x="622972" y="606342"/>
                      <a:pt x="478192" y="596817"/>
                    </a:cubicBezTo>
                    <a:cubicBezTo>
                      <a:pt x="333412" y="587292"/>
                      <a:pt x="144817" y="532047"/>
                      <a:pt x="59092" y="482517"/>
                    </a:cubicBezTo>
                    <a:cubicBezTo>
                      <a:pt x="-26633" y="432987"/>
                      <a:pt x="-9488" y="356787"/>
                      <a:pt x="49567" y="349167"/>
                    </a:cubicBezTo>
                    <a:cubicBezTo>
                      <a:pt x="108622" y="341547"/>
                      <a:pt x="232447" y="432987"/>
                      <a:pt x="354367" y="444417"/>
                    </a:cubicBezTo>
                    <a:cubicBezTo>
                      <a:pt x="476287" y="455847"/>
                      <a:pt x="556297" y="446322"/>
                      <a:pt x="659167" y="406317"/>
                    </a:cubicBezTo>
                    <a:cubicBezTo>
                      <a:pt x="762037" y="366312"/>
                      <a:pt x="817282" y="312972"/>
                      <a:pt x="868717" y="244392"/>
                    </a:cubicBezTo>
                    <a:cubicBezTo>
                      <a:pt x="920152" y="175812"/>
                      <a:pt x="904912" y="107232"/>
                      <a:pt x="916342" y="63417"/>
                    </a:cubicBezTo>
                    <a:cubicBezTo>
                      <a:pt x="927772" y="19602"/>
                      <a:pt x="920152" y="-31833"/>
                      <a:pt x="925867" y="2531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8" name="任意多边形 57"/>
              <p:cNvSpPr/>
              <p:nvPr>
                <p:custDataLst>
                  <p:tags r:id="rId15"/>
                </p:custDataLst>
              </p:nvPr>
            </p:nvSpPr>
            <p:spPr>
              <a:xfrm>
                <a:off x="14171" y="8091"/>
                <a:ext cx="2129" cy="1326"/>
              </a:xfrm>
              <a:custGeom>
                <a:avLst/>
                <a:gdLst>
                  <a:gd name="connisteX0" fmla="*/ 200461 w 1351991"/>
                  <a:gd name="connsiteY0" fmla="*/ 261436 h 841898"/>
                  <a:gd name="connisteX1" fmla="*/ 476686 w 1351991"/>
                  <a:gd name="connsiteY1" fmla="*/ 642436 h 841898"/>
                  <a:gd name="connisteX2" fmla="*/ 981511 w 1351991"/>
                  <a:gd name="connsiteY2" fmla="*/ 728161 h 841898"/>
                  <a:gd name="connisteX3" fmla="*/ 1343461 w 1351991"/>
                  <a:gd name="connsiteY3" fmla="*/ 661486 h 841898"/>
                  <a:gd name="connisteX4" fmla="*/ 1181536 w 1351991"/>
                  <a:gd name="connsiteY4" fmla="*/ 766261 h 841898"/>
                  <a:gd name="connisteX5" fmla="*/ 876736 w 1351991"/>
                  <a:gd name="connsiteY5" fmla="*/ 823411 h 841898"/>
                  <a:gd name="connisteX6" fmla="*/ 429061 w 1351991"/>
                  <a:gd name="connsiteY6" fmla="*/ 832936 h 841898"/>
                  <a:gd name="connisteX7" fmla="*/ 124261 w 1351991"/>
                  <a:gd name="connsiteY7" fmla="*/ 728161 h 841898"/>
                  <a:gd name="connisteX8" fmla="*/ 436 w 1351991"/>
                  <a:gd name="connsiteY8" fmla="*/ 356686 h 841898"/>
                  <a:gd name="connisteX9" fmla="*/ 95686 w 1351991"/>
                  <a:gd name="connsiteY9" fmla="*/ 32836 h 841898"/>
                  <a:gd name="connisteX10" fmla="*/ 248086 w 1351991"/>
                  <a:gd name="connsiteY10" fmla="*/ 51886 h 841898"/>
                  <a:gd name="connisteX11" fmla="*/ 200461 w 1351991"/>
                  <a:gd name="connsiteY11" fmla="*/ 261436 h 84189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1351991" h="841899">
                    <a:moveTo>
                      <a:pt x="200461" y="261437"/>
                    </a:moveTo>
                    <a:cubicBezTo>
                      <a:pt x="246181" y="379547"/>
                      <a:pt x="320476" y="549092"/>
                      <a:pt x="476686" y="642437"/>
                    </a:cubicBezTo>
                    <a:cubicBezTo>
                      <a:pt x="632896" y="735782"/>
                      <a:pt x="808156" y="724352"/>
                      <a:pt x="981511" y="728162"/>
                    </a:cubicBezTo>
                    <a:cubicBezTo>
                      <a:pt x="1154866" y="731972"/>
                      <a:pt x="1303456" y="653867"/>
                      <a:pt x="1343461" y="661487"/>
                    </a:cubicBezTo>
                    <a:cubicBezTo>
                      <a:pt x="1383466" y="669107"/>
                      <a:pt x="1274881" y="733877"/>
                      <a:pt x="1181536" y="766262"/>
                    </a:cubicBezTo>
                    <a:cubicBezTo>
                      <a:pt x="1088191" y="798647"/>
                      <a:pt x="1027231" y="810077"/>
                      <a:pt x="876736" y="823412"/>
                    </a:cubicBezTo>
                    <a:cubicBezTo>
                      <a:pt x="726241" y="836747"/>
                      <a:pt x="579556" y="851987"/>
                      <a:pt x="429061" y="832937"/>
                    </a:cubicBezTo>
                    <a:cubicBezTo>
                      <a:pt x="278566" y="813887"/>
                      <a:pt x="209986" y="823412"/>
                      <a:pt x="124261" y="728162"/>
                    </a:cubicBezTo>
                    <a:cubicBezTo>
                      <a:pt x="38536" y="632912"/>
                      <a:pt x="6151" y="495752"/>
                      <a:pt x="436" y="356687"/>
                    </a:cubicBezTo>
                    <a:cubicBezTo>
                      <a:pt x="-5279" y="217622"/>
                      <a:pt x="46156" y="93797"/>
                      <a:pt x="95686" y="32837"/>
                    </a:cubicBezTo>
                    <a:cubicBezTo>
                      <a:pt x="145216" y="-28123"/>
                      <a:pt x="227131" y="6167"/>
                      <a:pt x="248086" y="51887"/>
                    </a:cubicBezTo>
                    <a:cubicBezTo>
                      <a:pt x="269041" y="97607"/>
                      <a:pt x="154741" y="143327"/>
                      <a:pt x="200461" y="261437"/>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任意多边形 58"/>
              <p:cNvSpPr/>
              <p:nvPr>
                <p:custDataLst>
                  <p:tags r:id="rId16"/>
                </p:custDataLst>
              </p:nvPr>
            </p:nvSpPr>
            <p:spPr>
              <a:xfrm>
                <a:off x="14821" y="9670"/>
                <a:ext cx="2147" cy="774"/>
              </a:xfrm>
              <a:custGeom>
                <a:avLst/>
                <a:gdLst>
                  <a:gd name="connisteX0" fmla="*/ 302061 w 1363082"/>
                  <a:gd name="connsiteY0" fmla="*/ 287682 h 491640"/>
                  <a:gd name="connisteX1" fmla="*/ 835461 w 1363082"/>
                  <a:gd name="connsiteY1" fmla="*/ 297207 h 491640"/>
                  <a:gd name="connisteX2" fmla="*/ 1216461 w 1363082"/>
                  <a:gd name="connsiteY2" fmla="*/ 144807 h 491640"/>
                  <a:gd name="connisteX3" fmla="*/ 1311711 w 1363082"/>
                  <a:gd name="connsiteY3" fmla="*/ 1932 h 491640"/>
                  <a:gd name="connisteX4" fmla="*/ 1330761 w 1363082"/>
                  <a:gd name="connsiteY4" fmla="*/ 230532 h 491640"/>
                  <a:gd name="connisteX5" fmla="*/ 949761 w 1363082"/>
                  <a:gd name="connsiteY5" fmla="*/ 421032 h 491640"/>
                  <a:gd name="connisteX6" fmla="*/ 397311 w 1363082"/>
                  <a:gd name="connsiteY6" fmla="*/ 487707 h 491640"/>
                  <a:gd name="connisteX7" fmla="*/ 25836 w 1363082"/>
                  <a:gd name="connsiteY7" fmla="*/ 344832 h 491640"/>
                  <a:gd name="connisteX8" fmla="*/ 82986 w 1363082"/>
                  <a:gd name="connsiteY8" fmla="*/ 192432 h 491640"/>
                  <a:gd name="connisteX9" fmla="*/ 302061 w 1363082"/>
                  <a:gd name="connsiteY9" fmla="*/ 287682 h 49164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Lst>
                <a:rect l="l" t="t" r="r" b="b"/>
                <a:pathLst>
                  <a:path w="1363083" h="491641">
                    <a:moveTo>
                      <a:pt x="302062" y="287683"/>
                    </a:moveTo>
                    <a:cubicBezTo>
                      <a:pt x="452557" y="308638"/>
                      <a:pt x="652582" y="325783"/>
                      <a:pt x="835462" y="297208"/>
                    </a:cubicBezTo>
                    <a:cubicBezTo>
                      <a:pt x="1018342" y="268633"/>
                      <a:pt x="1121212" y="203863"/>
                      <a:pt x="1216462" y="144808"/>
                    </a:cubicBezTo>
                    <a:cubicBezTo>
                      <a:pt x="1311712" y="85753"/>
                      <a:pt x="1288852" y="-15212"/>
                      <a:pt x="1311712" y="1933"/>
                    </a:cubicBezTo>
                    <a:cubicBezTo>
                      <a:pt x="1334572" y="19078"/>
                      <a:pt x="1403152" y="146713"/>
                      <a:pt x="1330762" y="230533"/>
                    </a:cubicBezTo>
                    <a:cubicBezTo>
                      <a:pt x="1258372" y="314353"/>
                      <a:pt x="1136452" y="369598"/>
                      <a:pt x="949762" y="421033"/>
                    </a:cubicBezTo>
                    <a:cubicBezTo>
                      <a:pt x="763072" y="472468"/>
                      <a:pt x="582097" y="502948"/>
                      <a:pt x="397312" y="487708"/>
                    </a:cubicBezTo>
                    <a:cubicBezTo>
                      <a:pt x="212527" y="472468"/>
                      <a:pt x="88702" y="403888"/>
                      <a:pt x="25837" y="344833"/>
                    </a:cubicBezTo>
                    <a:cubicBezTo>
                      <a:pt x="-37028" y="285778"/>
                      <a:pt x="27742" y="203863"/>
                      <a:pt x="82987" y="192433"/>
                    </a:cubicBezTo>
                    <a:cubicBezTo>
                      <a:pt x="138232" y="181003"/>
                      <a:pt x="151567" y="266728"/>
                      <a:pt x="302062" y="28768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任意多边形 59"/>
              <p:cNvSpPr/>
              <p:nvPr>
                <p:custDataLst>
                  <p:tags r:id="rId17"/>
                </p:custDataLst>
              </p:nvPr>
            </p:nvSpPr>
            <p:spPr>
              <a:xfrm>
                <a:off x="17487" y="8442"/>
                <a:ext cx="822" cy="1730"/>
              </a:xfrm>
              <a:custGeom>
                <a:avLst/>
                <a:gdLst>
                  <a:gd name="connisteX0" fmla="*/ 171430 w 521671"/>
                  <a:gd name="connsiteY0" fmla="*/ 563 h 1098314"/>
                  <a:gd name="connisteX1" fmla="*/ 457180 w 521671"/>
                  <a:gd name="connsiteY1" fmla="*/ 162488 h 1098314"/>
                  <a:gd name="connisteX2" fmla="*/ 514330 w 521671"/>
                  <a:gd name="connsiteY2" fmla="*/ 495863 h 1098314"/>
                  <a:gd name="connisteX3" fmla="*/ 380980 w 521671"/>
                  <a:gd name="connsiteY3" fmla="*/ 848288 h 1098314"/>
                  <a:gd name="connisteX4" fmla="*/ 152380 w 521671"/>
                  <a:gd name="connsiteY4" fmla="*/ 1057838 h 1098314"/>
                  <a:gd name="connisteX5" fmla="*/ 47605 w 521671"/>
                  <a:gd name="connsiteY5" fmla="*/ 1086413 h 1098314"/>
                  <a:gd name="connisteX6" fmla="*/ 19030 w 521671"/>
                  <a:gd name="connsiteY6" fmla="*/ 962588 h 1098314"/>
                  <a:gd name="connisteX7" fmla="*/ 276205 w 521671"/>
                  <a:gd name="connsiteY7" fmla="*/ 791138 h 1098314"/>
                  <a:gd name="connisteX8" fmla="*/ 409555 w 521671"/>
                  <a:gd name="connsiteY8" fmla="*/ 543488 h 1098314"/>
                  <a:gd name="connisteX9" fmla="*/ 438130 w 521671"/>
                  <a:gd name="connsiteY9" fmla="*/ 200588 h 1098314"/>
                  <a:gd name="connisteX10" fmla="*/ 171430 w 521671"/>
                  <a:gd name="connsiteY10" fmla="*/ 563 h 109831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521671" h="1098315">
                    <a:moveTo>
                      <a:pt x="171431" y="563"/>
                    </a:moveTo>
                    <a:cubicBezTo>
                      <a:pt x="175241" y="-7057"/>
                      <a:pt x="388601" y="63428"/>
                      <a:pt x="457181" y="162488"/>
                    </a:cubicBezTo>
                    <a:cubicBezTo>
                      <a:pt x="525761" y="261548"/>
                      <a:pt x="529571" y="358703"/>
                      <a:pt x="514331" y="495863"/>
                    </a:cubicBezTo>
                    <a:cubicBezTo>
                      <a:pt x="499091" y="633023"/>
                      <a:pt x="453371" y="735893"/>
                      <a:pt x="380981" y="848288"/>
                    </a:cubicBezTo>
                    <a:cubicBezTo>
                      <a:pt x="308591" y="960683"/>
                      <a:pt x="219056" y="1010213"/>
                      <a:pt x="152381" y="1057838"/>
                    </a:cubicBezTo>
                    <a:cubicBezTo>
                      <a:pt x="85706" y="1105463"/>
                      <a:pt x="74276" y="1105463"/>
                      <a:pt x="47606" y="1086413"/>
                    </a:cubicBezTo>
                    <a:cubicBezTo>
                      <a:pt x="20936" y="1067363"/>
                      <a:pt x="-26689" y="1021643"/>
                      <a:pt x="19031" y="962588"/>
                    </a:cubicBezTo>
                    <a:cubicBezTo>
                      <a:pt x="64751" y="903533"/>
                      <a:pt x="198101" y="874958"/>
                      <a:pt x="276206" y="791138"/>
                    </a:cubicBezTo>
                    <a:cubicBezTo>
                      <a:pt x="354311" y="707318"/>
                      <a:pt x="377171" y="661598"/>
                      <a:pt x="409556" y="543488"/>
                    </a:cubicBezTo>
                    <a:cubicBezTo>
                      <a:pt x="441941" y="425378"/>
                      <a:pt x="485756" y="309173"/>
                      <a:pt x="438131" y="200588"/>
                    </a:cubicBezTo>
                    <a:cubicBezTo>
                      <a:pt x="390506" y="92003"/>
                      <a:pt x="167621" y="8183"/>
                      <a:pt x="171431" y="563"/>
                    </a:cubicBezTo>
                    <a:close/>
                  </a:path>
                </a:pathLst>
              </a:custGeom>
              <a:solidFill>
                <a:schemeClr val="lt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任意多边形 60"/>
              <p:cNvSpPr/>
              <p:nvPr>
                <p:custDataLst>
                  <p:tags r:id="rId18"/>
                </p:custDataLst>
              </p:nvPr>
            </p:nvSpPr>
            <p:spPr>
              <a:xfrm>
                <a:off x="15866" y="8628"/>
                <a:ext cx="856" cy="452"/>
              </a:xfrm>
              <a:custGeom>
                <a:avLst/>
                <a:gdLst>
                  <a:gd name="connisteX0" fmla="*/ 362468 w 543470"/>
                  <a:gd name="connsiteY0" fmla="*/ 263295 h 287248"/>
                  <a:gd name="connisteX1" fmla="*/ 543443 w 543470"/>
                  <a:gd name="connsiteY1" fmla="*/ 148995 h 287248"/>
                  <a:gd name="connisteX2" fmla="*/ 371993 w 543470"/>
                  <a:gd name="connsiteY2" fmla="*/ 15645 h 287248"/>
                  <a:gd name="connisteX3" fmla="*/ 162443 w 543470"/>
                  <a:gd name="connsiteY3" fmla="*/ 25170 h 287248"/>
                  <a:gd name="connisteX4" fmla="*/ 518 w 543470"/>
                  <a:gd name="connsiteY4" fmla="*/ 158520 h 287248"/>
                  <a:gd name="connisteX5" fmla="*/ 124343 w 543470"/>
                  <a:gd name="connsiteY5" fmla="*/ 272820 h 287248"/>
                  <a:gd name="connisteX6" fmla="*/ 267218 w 543470"/>
                  <a:gd name="connsiteY6" fmla="*/ 272820 h 287248"/>
                  <a:gd name="connisteX7" fmla="*/ 171968 w 543470"/>
                  <a:gd name="connsiteY7" fmla="*/ 196620 h 287248"/>
                  <a:gd name="connisteX8" fmla="*/ 191018 w 543470"/>
                  <a:gd name="connsiteY8" fmla="*/ 101370 h 287248"/>
                  <a:gd name="connisteX9" fmla="*/ 295793 w 543470"/>
                  <a:gd name="connsiteY9" fmla="*/ 91845 h 287248"/>
                  <a:gd name="connisteX10" fmla="*/ 410093 w 543470"/>
                  <a:gd name="connsiteY10" fmla="*/ 110895 h 287248"/>
                  <a:gd name="connisteX11" fmla="*/ 457718 w 543470"/>
                  <a:gd name="connsiteY11" fmla="*/ 177570 h 287248"/>
                  <a:gd name="connisteX12" fmla="*/ 362468 w 543470"/>
                  <a:gd name="connsiteY12" fmla="*/ 263295 h 28724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543471" h="287248">
                    <a:moveTo>
                      <a:pt x="362468" y="263295"/>
                    </a:moveTo>
                    <a:cubicBezTo>
                      <a:pt x="379613" y="257580"/>
                      <a:pt x="541538" y="198525"/>
                      <a:pt x="543443" y="148995"/>
                    </a:cubicBezTo>
                    <a:cubicBezTo>
                      <a:pt x="545348" y="99465"/>
                      <a:pt x="448193" y="40410"/>
                      <a:pt x="371993" y="15645"/>
                    </a:cubicBezTo>
                    <a:cubicBezTo>
                      <a:pt x="295793" y="-9120"/>
                      <a:pt x="236738" y="-3405"/>
                      <a:pt x="162443" y="25170"/>
                    </a:cubicBezTo>
                    <a:cubicBezTo>
                      <a:pt x="88148" y="53745"/>
                      <a:pt x="8138" y="108990"/>
                      <a:pt x="518" y="158520"/>
                    </a:cubicBezTo>
                    <a:cubicBezTo>
                      <a:pt x="-7102" y="208050"/>
                      <a:pt x="71003" y="249960"/>
                      <a:pt x="124343" y="272820"/>
                    </a:cubicBezTo>
                    <a:cubicBezTo>
                      <a:pt x="177683" y="295680"/>
                      <a:pt x="257693" y="288060"/>
                      <a:pt x="267218" y="272820"/>
                    </a:cubicBezTo>
                    <a:cubicBezTo>
                      <a:pt x="276743" y="257580"/>
                      <a:pt x="187208" y="230910"/>
                      <a:pt x="171968" y="196620"/>
                    </a:cubicBezTo>
                    <a:cubicBezTo>
                      <a:pt x="156728" y="162330"/>
                      <a:pt x="166253" y="122325"/>
                      <a:pt x="191018" y="101370"/>
                    </a:cubicBezTo>
                    <a:cubicBezTo>
                      <a:pt x="215783" y="80415"/>
                      <a:pt x="251978" y="89940"/>
                      <a:pt x="295793" y="91845"/>
                    </a:cubicBezTo>
                    <a:cubicBezTo>
                      <a:pt x="339608" y="93750"/>
                      <a:pt x="377708" y="93750"/>
                      <a:pt x="410093" y="110895"/>
                    </a:cubicBezTo>
                    <a:cubicBezTo>
                      <a:pt x="442478" y="128040"/>
                      <a:pt x="467243" y="147090"/>
                      <a:pt x="457718" y="177570"/>
                    </a:cubicBezTo>
                    <a:cubicBezTo>
                      <a:pt x="448193" y="208050"/>
                      <a:pt x="345323" y="269010"/>
                      <a:pt x="362468" y="263295"/>
                    </a:cubicBezTo>
                    <a:close/>
                  </a:path>
                </a:pathLst>
              </a:custGeom>
              <a:solidFill>
                <a:schemeClr val="lt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3" name="任意多边形 62"/>
            <p:cNvSpPr/>
            <p:nvPr>
              <p:custDataLst>
                <p:tags r:id="rId19"/>
              </p:custDataLst>
            </p:nvPr>
          </p:nvSpPr>
          <p:spPr>
            <a:xfrm>
              <a:off x="15518" y="8262"/>
              <a:ext cx="1402" cy="196"/>
            </a:xfrm>
            <a:custGeom>
              <a:avLst/>
              <a:gdLst>
                <a:gd name="connisteX0" fmla="*/ 2488 w 890007"/>
                <a:gd name="connsiteY0" fmla="*/ 28923 h 124650"/>
                <a:gd name="connisteX1" fmla="*/ 402538 w 890007"/>
                <a:gd name="connsiteY1" fmla="*/ 348 h 124650"/>
                <a:gd name="connisteX2" fmla="*/ 783538 w 890007"/>
                <a:gd name="connsiteY2" fmla="*/ 47973 h 124650"/>
                <a:gd name="connisteX3" fmla="*/ 888313 w 890007"/>
                <a:gd name="connsiteY3" fmla="*/ 114648 h 124650"/>
                <a:gd name="connisteX4" fmla="*/ 745438 w 890007"/>
                <a:gd name="connsiteY4" fmla="*/ 114648 h 124650"/>
                <a:gd name="connisteX5" fmla="*/ 497788 w 890007"/>
                <a:gd name="connsiteY5" fmla="*/ 47973 h 124650"/>
                <a:gd name="connisteX6" fmla="*/ 269188 w 890007"/>
                <a:gd name="connsiteY6" fmla="*/ 19398 h 124650"/>
                <a:gd name="connisteX7" fmla="*/ 2488 w 890007"/>
                <a:gd name="connsiteY7" fmla="*/ 28923 h 1246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890008" h="124650">
                  <a:moveTo>
                    <a:pt x="2489" y="28924"/>
                  </a:moveTo>
                  <a:cubicBezTo>
                    <a:pt x="29159" y="25114"/>
                    <a:pt x="246329" y="-3461"/>
                    <a:pt x="402539" y="349"/>
                  </a:cubicBezTo>
                  <a:cubicBezTo>
                    <a:pt x="558749" y="4159"/>
                    <a:pt x="686384" y="25114"/>
                    <a:pt x="783539" y="47974"/>
                  </a:cubicBezTo>
                  <a:cubicBezTo>
                    <a:pt x="880694" y="70834"/>
                    <a:pt x="895934" y="101314"/>
                    <a:pt x="888314" y="114649"/>
                  </a:cubicBezTo>
                  <a:cubicBezTo>
                    <a:pt x="880694" y="127984"/>
                    <a:pt x="823544" y="127984"/>
                    <a:pt x="745439" y="114649"/>
                  </a:cubicBezTo>
                  <a:cubicBezTo>
                    <a:pt x="667334" y="101314"/>
                    <a:pt x="593039" y="67024"/>
                    <a:pt x="497789" y="47974"/>
                  </a:cubicBezTo>
                  <a:cubicBezTo>
                    <a:pt x="402539" y="28924"/>
                    <a:pt x="368249" y="23209"/>
                    <a:pt x="269189" y="19399"/>
                  </a:cubicBezTo>
                  <a:cubicBezTo>
                    <a:pt x="170129" y="15589"/>
                    <a:pt x="-24181" y="32734"/>
                    <a:pt x="2489" y="28924"/>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任意多边形 63"/>
            <p:cNvSpPr/>
            <p:nvPr>
              <p:custDataLst>
                <p:tags r:id="rId20"/>
              </p:custDataLst>
            </p:nvPr>
          </p:nvSpPr>
          <p:spPr>
            <a:xfrm>
              <a:off x="14423" y="8518"/>
              <a:ext cx="589" cy="560"/>
            </a:xfrm>
            <a:custGeom>
              <a:avLst/>
              <a:gdLst>
                <a:gd name="connisteX0" fmla="*/ 97879 w 374209"/>
                <a:gd name="connsiteY0" fmla="*/ 314406 h 355543"/>
                <a:gd name="connisteX1" fmla="*/ 12154 w 374209"/>
                <a:gd name="connsiteY1" fmla="*/ 190581 h 355543"/>
                <a:gd name="connisteX2" fmla="*/ 12154 w 374209"/>
                <a:gd name="connsiteY2" fmla="*/ 81 h 355543"/>
                <a:gd name="connisteX3" fmla="*/ 88354 w 374209"/>
                <a:gd name="connsiteY3" fmla="*/ 209631 h 355543"/>
                <a:gd name="connisteX4" fmla="*/ 202654 w 374209"/>
                <a:gd name="connsiteY4" fmla="*/ 285831 h 355543"/>
                <a:gd name="connisteX5" fmla="*/ 374104 w 374209"/>
                <a:gd name="connsiteY5" fmla="*/ 342981 h 355543"/>
                <a:gd name="connisteX6" fmla="*/ 221704 w 374209"/>
                <a:gd name="connsiteY6" fmla="*/ 352506 h 355543"/>
                <a:gd name="connisteX7" fmla="*/ 97879 w 374209"/>
                <a:gd name="connsiteY7" fmla="*/ 314406 h 355543"/>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74210" h="355544">
                  <a:moveTo>
                    <a:pt x="97880" y="314406"/>
                  </a:moveTo>
                  <a:cubicBezTo>
                    <a:pt x="55970" y="282021"/>
                    <a:pt x="29300" y="253446"/>
                    <a:pt x="12155" y="190581"/>
                  </a:cubicBezTo>
                  <a:cubicBezTo>
                    <a:pt x="-4990" y="127716"/>
                    <a:pt x="-3085" y="-3729"/>
                    <a:pt x="12155" y="81"/>
                  </a:cubicBezTo>
                  <a:cubicBezTo>
                    <a:pt x="27395" y="3891"/>
                    <a:pt x="50255" y="152481"/>
                    <a:pt x="88355" y="209631"/>
                  </a:cubicBezTo>
                  <a:cubicBezTo>
                    <a:pt x="126455" y="266781"/>
                    <a:pt x="145505" y="259161"/>
                    <a:pt x="202655" y="285831"/>
                  </a:cubicBezTo>
                  <a:cubicBezTo>
                    <a:pt x="259805" y="312501"/>
                    <a:pt x="370295" y="329646"/>
                    <a:pt x="374105" y="342981"/>
                  </a:cubicBezTo>
                  <a:cubicBezTo>
                    <a:pt x="377915" y="356316"/>
                    <a:pt x="276950" y="358221"/>
                    <a:pt x="221705" y="352506"/>
                  </a:cubicBezTo>
                  <a:cubicBezTo>
                    <a:pt x="166460" y="346791"/>
                    <a:pt x="139790" y="346791"/>
                    <a:pt x="97880" y="314406"/>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7" name="任意多边形 66"/>
            <p:cNvSpPr/>
            <p:nvPr>
              <p:custDataLst>
                <p:tags r:id="rId21"/>
              </p:custDataLst>
            </p:nvPr>
          </p:nvSpPr>
          <p:spPr>
            <a:xfrm>
              <a:off x="16513" y="8588"/>
              <a:ext cx="774" cy="536"/>
            </a:xfrm>
            <a:custGeom>
              <a:avLst/>
              <a:gdLst>
                <a:gd name="connisteX0" fmla="*/ 313610 w 491595"/>
                <a:gd name="connsiteY0" fmla="*/ 155752 h 340401"/>
                <a:gd name="connisteX1" fmla="*/ 427910 w 491595"/>
                <a:gd name="connsiteY1" fmla="*/ 212902 h 340401"/>
                <a:gd name="connisteX2" fmla="*/ 189785 w 491595"/>
                <a:gd name="connsiteY2" fmla="*/ 327202 h 340401"/>
                <a:gd name="connisteX3" fmla="*/ 389810 w 491595"/>
                <a:gd name="connsiteY3" fmla="*/ 327202 h 340401"/>
                <a:gd name="connisteX4" fmla="*/ 485060 w 491595"/>
                <a:gd name="connsiteY4" fmla="*/ 270052 h 340401"/>
                <a:gd name="connisteX5" fmla="*/ 418385 w 491595"/>
                <a:gd name="connsiteY5" fmla="*/ 98602 h 340401"/>
                <a:gd name="connisteX6" fmla="*/ 8810 w 491595"/>
                <a:gd name="connsiteY6" fmla="*/ 3352 h 340401"/>
                <a:gd name="connisteX7" fmla="*/ 180260 w 491595"/>
                <a:gd name="connsiteY7" fmla="*/ 41452 h 340401"/>
                <a:gd name="connisteX8" fmla="*/ 313610 w 491595"/>
                <a:gd name="connsiteY8" fmla="*/ 155752 h 340401"/>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91595" h="340401">
                  <a:moveTo>
                    <a:pt x="313611" y="155753"/>
                  </a:moveTo>
                  <a:cubicBezTo>
                    <a:pt x="363141" y="190043"/>
                    <a:pt x="452676" y="178613"/>
                    <a:pt x="427911" y="212903"/>
                  </a:cubicBezTo>
                  <a:cubicBezTo>
                    <a:pt x="403146" y="247193"/>
                    <a:pt x="197406" y="304343"/>
                    <a:pt x="189786" y="327203"/>
                  </a:cubicBezTo>
                  <a:cubicBezTo>
                    <a:pt x="182166" y="350063"/>
                    <a:pt x="330756" y="338633"/>
                    <a:pt x="389811" y="327203"/>
                  </a:cubicBezTo>
                  <a:cubicBezTo>
                    <a:pt x="448866" y="315773"/>
                    <a:pt x="479346" y="315773"/>
                    <a:pt x="485061" y="270053"/>
                  </a:cubicBezTo>
                  <a:cubicBezTo>
                    <a:pt x="490776" y="224333"/>
                    <a:pt x="513636" y="151943"/>
                    <a:pt x="418386" y="98603"/>
                  </a:cubicBezTo>
                  <a:cubicBezTo>
                    <a:pt x="323136" y="45263"/>
                    <a:pt x="56436" y="14783"/>
                    <a:pt x="8811" y="3353"/>
                  </a:cubicBezTo>
                  <a:cubicBezTo>
                    <a:pt x="-38814" y="-8077"/>
                    <a:pt x="119301" y="10973"/>
                    <a:pt x="180261" y="41453"/>
                  </a:cubicBezTo>
                  <a:cubicBezTo>
                    <a:pt x="241221" y="71933"/>
                    <a:pt x="264081" y="121463"/>
                    <a:pt x="313611" y="155753"/>
                  </a:cubicBezTo>
                  <a:close/>
                </a:path>
              </a:pathLst>
            </a:custGeom>
            <a:solidFill>
              <a:schemeClr val="lt1"/>
            </a:solidFill>
            <a:ln>
              <a:solidFill>
                <a:srgbClr val="000000">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4" name="文本框 3"/>
          <p:cNvSpPr txBox="1"/>
          <p:nvPr>
            <p:custDataLst>
              <p:tags r:id="rId22"/>
            </p:custDataLst>
          </p:nvPr>
        </p:nvSpPr>
        <p:spPr>
          <a:xfrm>
            <a:off x="704850" y="1770380"/>
            <a:ext cx="8044815" cy="4246245"/>
          </a:xfrm>
          <a:prstGeom prst="rect">
            <a:avLst/>
          </a:prstGeom>
          <a:noFill/>
        </p:spPr>
        <p:txBody>
          <a:bodyPr wrap="square" rtlCol="0">
            <a:spAutoFit/>
          </a:bodyPr>
          <a:lstStyle/>
          <a:p>
            <a:pPr>
              <a:lnSpc>
                <a:spcPct val="150000"/>
              </a:lnSpc>
            </a:pPr>
            <a:r>
              <a:rPr sz="2000" dirty="0">
                <a:solidFill>
                  <a:schemeClr val="dk1"/>
                </a:solidFill>
                <a:latin typeface="+mn-ea"/>
                <a:cs typeface="+mn-ea"/>
              </a:rPr>
              <a:t>台风的风速究竟有多大？没有人真正知道，因为台风发生至消散的时间短，作用面积很小，以至于现有的探测仪器没有足够的灵敏度来对台风进行准确的观测。相对来说，多普勒雷达是比较有效和常用的一种观测仪器。多普勒雷达对准台风发出的微波束，微波信号被台风中的碎屑和雨点反射后重被雷达接收。如果台风远离雷达而去，反射回的微波信号频率将向低频方向移动；反之，如果台风越来越接近雷达，则反射回的信号将向高频方向移动。接收到信号后，雷达操作人员就可以通过分析频移数据，计算出台风的速度和移动方向。这样，我们就能对台风进行一定的预防了。</a:t>
            </a:r>
            <a:endParaRPr lang="zh-CN" sz="2000" dirty="0">
              <a:solidFill>
                <a:schemeClr val="dk1"/>
              </a:solidFill>
              <a:latin typeface="+mn-ea"/>
              <a:cs typeface="+mn-ea"/>
            </a:endParaRPr>
          </a:p>
        </p:txBody>
      </p:sp>
    </p:spTree>
    <p:custDataLst>
      <p:tags r:id="rId23"/>
    </p:custData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5866765" cy="4246245"/>
          </a:xfrm>
          <a:prstGeom prst="rect">
            <a:avLst/>
          </a:prstGeom>
          <a:noFill/>
        </p:spPr>
        <p:txBody>
          <a:bodyPr wrap="square" rtlCol="0">
            <a:spAutoFit/>
          </a:bodyPr>
          <a:lstStyle/>
          <a:p>
            <a:pPr>
              <a:lnSpc>
                <a:spcPct val="150000"/>
              </a:lnSpc>
            </a:pPr>
            <a:r>
              <a:rPr sz="2000">
                <a:solidFill>
                  <a:schemeClr val="dk1"/>
                </a:solidFill>
                <a:latin typeface="+mn-ea"/>
                <a:cs typeface="+mn-ea"/>
              </a:rPr>
              <a:t>（1）台风袭来时，应打开门窗，使室内外的气压得到平衡，以避免风力掀掉屋顶，吹倒墙壁。</a:t>
            </a: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r>
              <a:rPr sz="2000">
                <a:solidFill>
                  <a:schemeClr val="dk1"/>
                </a:solidFill>
                <a:latin typeface="+mn-ea"/>
                <a:cs typeface="+mn-ea"/>
              </a:rPr>
              <a:t>（2）在室内，人应该保护好头部，面向墙壁蹲下。</a:t>
            </a: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r>
              <a:rPr sz="2000">
                <a:solidFill>
                  <a:schemeClr val="dk1"/>
                </a:solidFill>
                <a:latin typeface="+mn-ea"/>
                <a:cs typeface="+mn-ea"/>
              </a:rPr>
              <a:t>（3）在野外遇到台风，尽量避免河边走，应迅速向台风前进的相反方向或者侧向移动躲避。</a:t>
            </a:r>
            <a:endParaRPr sz="2000">
              <a:solidFill>
                <a:schemeClr val="dk1"/>
              </a:solidFill>
              <a:latin typeface="+mn-ea"/>
              <a:cs typeface="+mn-ea"/>
            </a:endParaRPr>
          </a:p>
        </p:txBody>
      </p:sp>
      <p:grpSp>
        <p:nvGrpSpPr>
          <p:cNvPr id="40" name="组合 39"/>
          <p:cNvGrpSpPr/>
          <p:nvPr/>
        </p:nvGrpSpPr>
        <p:grpSpPr>
          <a:xfrm>
            <a:off x="7729855" y="1166495"/>
            <a:ext cx="3407410" cy="1590040"/>
            <a:chOff x="11633" y="1837"/>
            <a:chExt cx="5366" cy="2504"/>
          </a:xfrm>
        </p:grpSpPr>
        <p:grpSp>
          <p:nvGrpSpPr>
            <p:cNvPr id="35" name="组合 34"/>
            <p:cNvGrpSpPr/>
            <p:nvPr/>
          </p:nvGrpSpPr>
          <p:grpSpPr>
            <a:xfrm>
              <a:off x="11633" y="1969"/>
              <a:ext cx="4135" cy="2372"/>
              <a:chOff x="11633" y="1969"/>
              <a:chExt cx="4135" cy="2372"/>
            </a:xfrm>
          </p:grpSpPr>
          <p:sp>
            <p:nvSpPr>
              <p:cNvPr id="7" name="图文框 6"/>
              <p:cNvSpPr/>
              <p:nvPr>
                <p:custDataLst>
                  <p:tags r:id="rId6"/>
                </p:custDataLst>
              </p:nvPr>
            </p:nvSpPr>
            <p:spPr>
              <a:xfrm>
                <a:off x="12631" y="1969"/>
                <a:ext cx="2100" cy="2213"/>
              </a:xfrm>
              <a:prstGeom prst="frame">
                <a:avLst>
                  <a:gd name="adj1" fmla="val 8047"/>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5" name="平行四边形 4"/>
              <p:cNvSpPr/>
              <p:nvPr>
                <p:custDataLst>
                  <p:tags r:id="rId7"/>
                </p:custDataLst>
              </p:nvPr>
            </p:nvSpPr>
            <p:spPr>
              <a:xfrm rot="5400000">
                <a:off x="14067" y="2640"/>
                <a:ext cx="2268" cy="1134"/>
              </a:xfrm>
              <a:prstGeom prst="parallelogram">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平行四边形 5"/>
              <p:cNvSpPr/>
              <p:nvPr>
                <p:custDataLst>
                  <p:tags r:id="rId8"/>
                </p:custDataLst>
              </p:nvPr>
            </p:nvSpPr>
            <p:spPr>
              <a:xfrm rot="5400000" flipV="1">
                <a:off x="11066" y="2621"/>
                <a:ext cx="2268" cy="1134"/>
              </a:xfrm>
              <a:prstGeom prst="parallelogram">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15" name="组合 14"/>
              <p:cNvGrpSpPr/>
              <p:nvPr/>
            </p:nvGrpSpPr>
            <p:grpSpPr>
              <a:xfrm>
                <a:off x="11761" y="2218"/>
                <a:ext cx="867" cy="1963"/>
                <a:chOff x="11761" y="2218"/>
                <a:chExt cx="867" cy="1963"/>
              </a:xfrm>
              <a:solidFill>
                <a:schemeClr val="bg1">
                  <a:lumMod val="95000"/>
                </a:schemeClr>
              </a:solidFill>
            </p:grpSpPr>
            <p:sp>
              <p:nvSpPr>
                <p:cNvPr id="8" name="平行四边形 7"/>
                <p:cNvSpPr/>
                <p:nvPr>
                  <p:custDataLst>
                    <p:tags r:id="rId9"/>
                  </p:custDataLst>
                </p:nvPr>
              </p:nvSpPr>
              <p:spPr>
                <a:xfrm rot="5400000" flipV="1">
                  <a:off x="11676" y="2303"/>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平行四边形 13"/>
                <p:cNvSpPr/>
                <p:nvPr>
                  <p:custDataLst>
                    <p:tags r:id="rId10"/>
                  </p:custDataLst>
                </p:nvPr>
              </p:nvSpPr>
              <p:spPr>
                <a:xfrm rot="5400000" flipV="1">
                  <a:off x="11681" y="3234"/>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16" name="组合 15"/>
              <p:cNvGrpSpPr/>
              <p:nvPr/>
            </p:nvGrpSpPr>
            <p:grpSpPr>
              <a:xfrm flipH="1">
                <a:off x="14726" y="2218"/>
                <a:ext cx="868" cy="1963"/>
                <a:chOff x="11761" y="2218"/>
                <a:chExt cx="867" cy="1963"/>
              </a:xfrm>
              <a:solidFill>
                <a:schemeClr val="bg1">
                  <a:lumMod val="95000"/>
                </a:schemeClr>
              </a:solidFill>
            </p:grpSpPr>
            <p:sp>
              <p:nvSpPr>
                <p:cNvPr id="22" name="平行四边形 21"/>
                <p:cNvSpPr/>
                <p:nvPr>
                  <p:custDataLst>
                    <p:tags r:id="rId11"/>
                  </p:custDataLst>
                </p:nvPr>
              </p:nvSpPr>
              <p:spPr>
                <a:xfrm rot="5400000" flipV="1">
                  <a:off x="11676" y="2303"/>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平行四边形 22"/>
                <p:cNvSpPr/>
                <p:nvPr>
                  <p:custDataLst>
                    <p:tags r:id="rId12"/>
                  </p:custDataLst>
                </p:nvPr>
              </p:nvSpPr>
              <p:spPr>
                <a:xfrm rot="5400000" flipV="1">
                  <a:off x="11681" y="3234"/>
                  <a:ext cx="1033" cy="862"/>
                </a:xfrm>
                <a:prstGeom prst="parallelogram">
                  <a:avLst/>
                </a:prstGeom>
                <a:solidFill>
                  <a:schemeClr val="lt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26" name="组合 25"/>
              <p:cNvGrpSpPr/>
              <p:nvPr/>
            </p:nvGrpSpPr>
            <p:grpSpPr>
              <a:xfrm>
                <a:off x="11918" y="2388"/>
                <a:ext cx="3518" cy="1613"/>
                <a:chOff x="11918" y="2388"/>
                <a:chExt cx="3518" cy="1613"/>
              </a:xfrm>
            </p:grpSpPr>
            <p:sp>
              <p:nvSpPr>
                <p:cNvPr id="24" name="任意多边形 23"/>
                <p:cNvSpPr/>
                <p:nvPr>
                  <p:custDataLst>
                    <p:tags r:id="rId13"/>
                  </p:custDataLst>
                </p:nvPr>
              </p:nvSpPr>
              <p:spPr>
                <a:xfrm>
                  <a:off x="11918" y="2400"/>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14"/>
                  </p:custDataLst>
                </p:nvPr>
              </p:nvSpPr>
              <p:spPr>
                <a:xfrm>
                  <a:off x="11958" y="2763"/>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15"/>
                  </p:custDataLst>
                </p:nvPr>
              </p:nvSpPr>
              <p:spPr>
                <a:xfrm>
                  <a:off x="11958" y="3478"/>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16"/>
                  </p:custDataLst>
                </p:nvPr>
              </p:nvSpPr>
              <p:spPr>
                <a:xfrm>
                  <a:off x="14922" y="2388"/>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17"/>
                  </p:custDataLst>
                </p:nvPr>
              </p:nvSpPr>
              <p:spPr>
                <a:xfrm>
                  <a:off x="14922" y="2547"/>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任意多边形 30"/>
                <p:cNvSpPr/>
                <p:nvPr>
                  <p:custDataLst>
                    <p:tags r:id="rId18"/>
                  </p:custDataLst>
                </p:nvPr>
              </p:nvSpPr>
              <p:spPr>
                <a:xfrm>
                  <a:off x="11918" y="3251"/>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任意多边形 31"/>
                <p:cNvSpPr/>
                <p:nvPr>
                  <p:custDataLst>
                    <p:tags r:id="rId19"/>
                  </p:custDataLst>
                </p:nvPr>
              </p:nvSpPr>
              <p:spPr>
                <a:xfrm>
                  <a:off x="14967" y="2547"/>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任意多边形 32"/>
                <p:cNvSpPr/>
                <p:nvPr>
                  <p:custDataLst>
                    <p:tags r:id="rId20"/>
                  </p:custDataLst>
                </p:nvPr>
              </p:nvSpPr>
              <p:spPr>
                <a:xfrm>
                  <a:off x="14731" y="3251"/>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任意多边形 33"/>
                <p:cNvSpPr/>
                <p:nvPr>
                  <p:custDataLst>
                    <p:tags r:id="rId21"/>
                  </p:custDataLst>
                </p:nvPr>
              </p:nvSpPr>
              <p:spPr>
                <a:xfrm>
                  <a:off x="14731" y="3626"/>
                  <a:ext cx="469" cy="375"/>
                </a:xfrm>
                <a:custGeom>
                  <a:avLst/>
                  <a:gdLst>
                    <a:gd name="connisteX0" fmla="*/ 179070 w 297815"/>
                    <a:gd name="connsiteY0" fmla="*/ 11430 h 238125"/>
                    <a:gd name="connisteX1" fmla="*/ 0 w 297815"/>
                    <a:gd name="connsiteY1" fmla="*/ 226060 h 238125"/>
                    <a:gd name="connisteX2" fmla="*/ 95250 w 297815"/>
                    <a:gd name="connsiteY2" fmla="*/ 238125 h 238125"/>
                    <a:gd name="connisteX3" fmla="*/ 297815 w 297815"/>
                    <a:gd name="connsiteY3" fmla="*/ 0 h 238125"/>
                    <a:gd name="connisteX4" fmla="*/ 179070 w 297815"/>
                    <a:gd name="connsiteY4" fmla="*/ 11430 h 23812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97815" h="238125">
                      <a:moveTo>
                        <a:pt x="179070" y="11430"/>
                      </a:moveTo>
                      <a:lnTo>
                        <a:pt x="0" y="226060"/>
                      </a:lnTo>
                      <a:lnTo>
                        <a:pt x="95250" y="238125"/>
                      </a:lnTo>
                      <a:lnTo>
                        <a:pt x="297815" y="0"/>
                      </a:lnTo>
                      <a:lnTo>
                        <a:pt x="179070" y="1143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sp>
          <p:nvSpPr>
            <p:cNvPr id="36" name="任意多边形 35"/>
            <p:cNvSpPr/>
            <p:nvPr>
              <p:custDataLst>
                <p:tags r:id="rId22"/>
              </p:custDataLst>
            </p:nvPr>
          </p:nvSpPr>
          <p:spPr>
            <a:xfrm>
              <a:off x="12987" y="1837"/>
              <a:ext cx="3450" cy="1856"/>
            </a:xfrm>
            <a:custGeom>
              <a:avLst/>
              <a:gdLst>
                <a:gd name="connisteX0" fmla="*/ 476280 w 2190780"/>
                <a:gd name="connsiteY0" fmla="*/ 631190 h 1178535"/>
                <a:gd name="connisteX1" fmla="*/ 190530 w 2190780"/>
                <a:gd name="connsiteY1" fmla="*/ 511810 h 1178535"/>
                <a:gd name="connisteX2" fmla="*/ 30 w 2190780"/>
                <a:gd name="connsiteY2" fmla="*/ 833755 h 1178535"/>
                <a:gd name="connisteX3" fmla="*/ 190530 w 2190780"/>
                <a:gd name="connsiteY3" fmla="*/ 1119505 h 1178535"/>
                <a:gd name="connisteX4" fmla="*/ 988090 w 2190780"/>
                <a:gd name="connsiteY4" fmla="*/ 1095375 h 1178535"/>
                <a:gd name="connisteX5" fmla="*/ 1678970 w 2190780"/>
                <a:gd name="connsiteY5" fmla="*/ 440690 h 1178535"/>
                <a:gd name="connisteX6" fmla="*/ 2000280 w 2190780"/>
                <a:gd name="connsiteY6" fmla="*/ 95250 h 1178535"/>
                <a:gd name="connisteX7" fmla="*/ 2190780 w 2190780"/>
                <a:gd name="connsiteY7" fmla="*/ 0 h 117853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2190780" h="1178536">
                  <a:moveTo>
                    <a:pt x="476280" y="631190"/>
                  </a:moveTo>
                  <a:cubicBezTo>
                    <a:pt x="422940" y="600710"/>
                    <a:pt x="285780" y="471170"/>
                    <a:pt x="190530" y="511810"/>
                  </a:cubicBezTo>
                  <a:cubicBezTo>
                    <a:pt x="95280" y="552450"/>
                    <a:pt x="30" y="712470"/>
                    <a:pt x="30" y="833755"/>
                  </a:cubicBezTo>
                  <a:cubicBezTo>
                    <a:pt x="30" y="955040"/>
                    <a:pt x="-6955" y="1067435"/>
                    <a:pt x="190530" y="1119505"/>
                  </a:cubicBezTo>
                  <a:cubicBezTo>
                    <a:pt x="388015" y="1171575"/>
                    <a:pt x="690275" y="1231265"/>
                    <a:pt x="988090" y="1095375"/>
                  </a:cubicBezTo>
                  <a:cubicBezTo>
                    <a:pt x="1285905" y="959485"/>
                    <a:pt x="1476405" y="640715"/>
                    <a:pt x="1678970" y="440690"/>
                  </a:cubicBezTo>
                  <a:cubicBezTo>
                    <a:pt x="1881535" y="240665"/>
                    <a:pt x="1898045" y="183515"/>
                    <a:pt x="2000280" y="95250"/>
                  </a:cubicBezTo>
                  <a:cubicBezTo>
                    <a:pt x="2102515" y="6985"/>
                    <a:pt x="2159030" y="12065"/>
                    <a:pt x="2190780" y="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7" name="任意多边形 36"/>
            <p:cNvSpPr/>
            <p:nvPr>
              <p:custDataLst>
                <p:tags r:id="rId23"/>
              </p:custDataLst>
            </p:nvPr>
          </p:nvSpPr>
          <p:spPr>
            <a:xfrm>
              <a:off x="14056" y="2062"/>
              <a:ext cx="1312" cy="1219"/>
            </a:xfrm>
            <a:custGeom>
              <a:avLst/>
              <a:gdLst>
                <a:gd name="connisteX0" fmla="*/ 0 w 833120"/>
                <a:gd name="connsiteY0" fmla="*/ 774065 h 774065"/>
                <a:gd name="connisteX1" fmla="*/ 333375 w 833120"/>
                <a:gd name="connsiteY1" fmla="*/ 726440 h 774065"/>
                <a:gd name="connisteX2" fmla="*/ 631190 w 833120"/>
                <a:gd name="connsiteY2" fmla="*/ 488315 h 774065"/>
                <a:gd name="connisteX3" fmla="*/ 737870 w 833120"/>
                <a:gd name="connsiteY3" fmla="*/ 167005 h 774065"/>
                <a:gd name="connisteX4" fmla="*/ 833120 w 833120"/>
                <a:gd name="connsiteY4" fmla="*/ 0 h 77406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833120" h="774065">
                  <a:moveTo>
                    <a:pt x="0" y="774065"/>
                  </a:moveTo>
                  <a:cubicBezTo>
                    <a:pt x="60960" y="769620"/>
                    <a:pt x="207010" y="783590"/>
                    <a:pt x="333375" y="726440"/>
                  </a:cubicBezTo>
                  <a:cubicBezTo>
                    <a:pt x="459740" y="669290"/>
                    <a:pt x="550545" y="600075"/>
                    <a:pt x="631190" y="488315"/>
                  </a:cubicBezTo>
                  <a:cubicBezTo>
                    <a:pt x="711835" y="376555"/>
                    <a:pt x="697230" y="264795"/>
                    <a:pt x="737870" y="167005"/>
                  </a:cubicBezTo>
                  <a:cubicBezTo>
                    <a:pt x="778510" y="69215"/>
                    <a:pt x="815975" y="26670"/>
                    <a:pt x="833120" y="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8" name="任意多边形 37"/>
            <p:cNvSpPr/>
            <p:nvPr>
              <p:custDataLst>
                <p:tags r:id="rId24"/>
              </p:custDataLst>
            </p:nvPr>
          </p:nvSpPr>
          <p:spPr>
            <a:xfrm>
              <a:off x="13490" y="2988"/>
              <a:ext cx="416" cy="379"/>
            </a:xfrm>
            <a:custGeom>
              <a:avLst/>
              <a:gdLst>
                <a:gd name="connisteX0" fmla="*/ 228683 w 264243"/>
                <a:gd name="connsiteY0" fmla="*/ 18939 h 240443"/>
                <a:gd name="connisteX1" fmla="*/ 14053 w 264243"/>
                <a:gd name="connsiteY1" fmla="*/ 18939 h 240443"/>
                <a:gd name="connisteX2" fmla="*/ 61678 w 264243"/>
                <a:gd name="connsiteY2" fmla="*/ 221504 h 240443"/>
                <a:gd name="connisteX3" fmla="*/ 264243 w 264243"/>
                <a:gd name="connsiteY3" fmla="*/ 221504 h 240443"/>
              </a:gdLst>
              <a:ahLst/>
              <a:cxnLst>
                <a:cxn ang="0">
                  <a:pos x="connisteX0" y="connsiteY0"/>
                </a:cxn>
                <a:cxn ang="0">
                  <a:pos x="connisteX1" y="connsiteY1"/>
                </a:cxn>
                <a:cxn ang="0">
                  <a:pos x="connisteX2" y="connsiteY2"/>
                </a:cxn>
                <a:cxn ang="0">
                  <a:pos x="connisteX3" y="connsiteY3"/>
                </a:cxn>
              </a:cxnLst>
              <a:rect l="l" t="t" r="r" b="b"/>
              <a:pathLst>
                <a:path w="264244" h="240443">
                  <a:moveTo>
                    <a:pt x="228684" y="18939"/>
                  </a:moveTo>
                  <a:cubicBezTo>
                    <a:pt x="184869" y="15129"/>
                    <a:pt x="47709" y="-21701"/>
                    <a:pt x="14054" y="18939"/>
                  </a:cubicBezTo>
                  <a:cubicBezTo>
                    <a:pt x="-19601" y="59579"/>
                    <a:pt x="11514" y="180864"/>
                    <a:pt x="61679" y="221504"/>
                  </a:cubicBezTo>
                  <a:cubicBezTo>
                    <a:pt x="111844" y="262144"/>
                    <a:pt x="224874" y="225314"/>
                    <a:pt x="264244" y="221504"/>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9" name="任意多边形 38"/>
            <p:cNvSpPr/>
            <p:nvPr>
              <p:custDataLst>
                <p:tags r:id="rId25"/>
              </p:custDataLst>
            </p:nvPr>
          </p:nvSpPr>
          <p:spPr>
            <a:xfrm>
              <a:off x="15293" y="2355"/>
              <a:ext cx="1707" cy="1226"/>
            </a:xfrm>
            <a:custGeom>
              <a:avLst/>
              <a:gdLst>
                <a:gd name="connisteX0" fmla="*/ 0 w 1083945"/>
                <a:gd name="connsiteY0" fmla="*/ 778768 h 778768"/>
                <a:gd name="connisteX1" fmla="*/ 309880 w 1083945"/>
                <a:gd name="connsiteY1" fmla="*/ 266958 h 778768"/>
                <a:gd name="connisteX2" fmla="*/ 762000 w 1083945"/>
                <a:gd name="connsiteY2" fmla="*/ 16768 h 778768"/>
                <a:gd name="connisteX3" fmla="*/ 1083945 w 1083945"/>
                <a:gd name="connsiteY3" fmla="*/ 40263 h 778768"/>
              </a:gdLst>
              <a:ahLst/>
              <a:cxnLst>
                <a:cxn ang="0">
                  <a:pos x="connisteX0" y="connsiteY0"/>
                </a:cxn>
                <a:cxn ang="0">
                  <a:pos x="connisteX1" y="connsiteY1"/>
                </a:cxn>
                <a:cxn ang="0">
                  <a:pos x="connisteX2" y="connsiteY2"/>
                </a:cxn>
                <a:cxn ang="0">
                  <a:pos x="connisteX3" y="connsiteY3"/>
                </a:cxn>
              </a:cxnLst>
              <a:rect l="l" t="t" r="r" b="b"/>
              <a:pathLst>
                <a:path w="1083945" h="778768">
                  <a:moveTo>
                    <a:pt x="0" y="778768"/>
                  </a:moveTo>
                  <a:cubicBezTo>
                    <a:pt x="52705" y="681613"/>
                    <a:pt x="157480" y="419358"/>
                    <a:pt x="309880" y="266958"/>
                  </a:cubicBezTo>
                  <a:cubicBezTo>
                    <a:pt x="462280" y="114558"/>
                    <a:pt x="607060" y="61853"/>
                    <a:pt x="762000" y="16768"/>
                  </a:cubicBezTo>
                  <a:cubicBezTo>
                    <a:pt x="916940" y="-28317"/>
                    <a:pt x="1028700" y="30738"/>
                    <a:pt x="1083945" y="40263"/>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3" name="组合 42"/>
          <p:cNvGrpSpPr/>
          <p:nvPr/>
        </p:nvGrpSpPr>
        <p:grpSpPr>
          <a:xfrm>
            <a:off x="7729855" y="2928620"/>
            <a:ext cx="1850390" cy="1551940"/>
            <a:chOff x="11637" y="4612"/>
            <a:chExt cx="3900" cy="3374"/>
          </a:xfrm>
        </p:grpSpPr>
        <p:sp>
          <p:nvSpPr>
            <p:cNvPr id="41" name="任意多边形 40"/>
            <p:cNvSpPr/>
            <p:nvPr>
              <p:custDataLst>
                <p:tags r:id="rId26"/>
              </p:custDataLst>
            </p:nvPr>
          </p:nvSpPr>
          <p:spPr>
            <a:xfrm>
              <a:off x="11637" y="4612"/>
              <a:ext cx="3900" cy="3375"/>
            </a:xfrm>
            <a:custGeom>
              <a:avLst/>
              <a:gdLst>
                <a:gd name="connsiteX0" fmla="*/ 3544 w 3900"/>
                <a:gd name="connsiteY0" fmla="*/ 694 h 3375"/>
                <a:gd name="connsiteX1" fmla="*/ 1706 w 3900"/>
                <a:gd name="connsiteY1" fmla="*/ 150 h 3375"/>
                <a:gd name="connsiteX2" fmla="*/ 1950 w 3900"/>
                <a:gd name="connsiteY2" fmla="*/ 0 h 3375"/>
                <a:gd name="connsiteX3" fmla="*/ 3900 w 3900"/>
                <a:gd name="connsiteY3" fmla="*/ 581 h 3375"/>
                <a:gd name="connsiteX4" fmla="*/ 3863 w 3900"/>
                <a:gd name="connsiteY4" fmla="*/ 3169 h 3375"/>
                <a:gd name="connsiteX5" fmla="*/ 1425 w 3900"/>
                <a:gd name="connsiteY5" fmla="*/ 3375 h 3375"/>
                <a:gd name="connsiteX6" fmla="*/ 38 w 3900"/>
                <a:gd name="connsiteY6" fmla="*/ 2400 h 3375"/>
                <a:gd name="connsiteX7" fmla="*/ 0 w 3900"/>
                <a:gd name="connsiteY7" fmla="*/ 2062 h 3375"/>
                <a:gd name="connsiteX8" fmla="*/ 1406 w 3900"/>
                <a:gd name="connsiteY8" fmla="*/ 3019 h 3375"/>
                <a:gd name="connsiteX9" fmla="*/ 3506 w 3900"/>
                <a:gd name="connsiteY9" fmla="*/ 2944 h 3375"/>
                <a:gd name="connsiteX10" fmla="*/ 3581 w 3900"/>
                <a:gd name="connsiteY10" fmla="*/ 694 h 3375"/>
                <a:gd name="connsiteX11" fmla="*/ 3488 w 3900"/>
                <a:gd name="connsiteY11" fmla="*/ 2944 h 3375"/>
                <a:gd name="connsiteX12" fmla="*/ 1388 w 3900"/>
                <a:gd name="connsiteY12" fmla="*/ 2981 h 3375"/>
                <a:gd name="connsiteX13" fmla="*/ 19 w 3900"/>
                <a:gd name="connsiteY13" fmla="*/ 2081 h 3375"/>
                <a:gd name="connsiteX14" fmla="*/ 1538 w 3900"/>
                <a:gd name="connsiteY14" fmla="*/ 1988 h 3375"/>
                <a:gd name="connsiteX15" fmla="*/ 3488 w 3900"/>
                <a:gd name="connsiteY15" fmla="*/ 2925 h 3375"/>
                <a:gd name="connsiteX16" fmla="*/ 1594 w 3900"/>
                <a:gd name="connsiteY16" fmla="*/ 1988 h 3375"/>
                <a:gd name="connsiteX17" fmla="*/ 1669 w 3900"/>
                <a:gd name="connsiteY17" fmla="*/ 150 h 3375"/>
                <a:gd name="connsiteX18" fmla="*/ 3544 w 3900"/>
                <a:gd name="connsiteY18" fmla="*/ 694 h 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00" h="3375">
                  <a:moveTo>
                    <a:pt x="3544" y="694"/>
                  </a:moveTo>
                  <a:lnTo>
                    <a:pt x="1706" y="150"/>
                  </a:lnTo>
                  <a:lnTo>
                    <a:pt x="1950" y="0"/>
                  </a:lnTo>
                  <a:lnTo>
                    <a:pt x="3900" y="581"/>
                  </a:lnTo>
                  <a:lnTo>
                    <a:pt x="3863" y="3169"/>
                  </a:lnTo>
                  <a:lnTo>
                    <a:pt x="1425" y="3375"/>
                  </a:lnTo>
                  <a:lnTo>
                    <a:pt x="38" y="2400"/>
                  </a:lnTo>
                  <a:lnTo>
                    <a:pt x="0" y="2062"/>
                  </a:lnTo>
                  <a:lnTo>
                    <a:pt x="1406" y="3019"/>
                  </a:lnTo>
                  <a:lnTo>
                    <a:pt x="3506" y="2944"/>
                  </a:lnTo>
                  <a:lnTo>
                    <a:pt x="3581" y="694"/>
                  </a:lnTo>
                  <a:lnTo>
                    <a:pt x="3488" y="2944"/>
                  </a:lnTo>
                  <a:lnTo>
                    <a:pt x="1388" y="2981"/>
                  </a:lnTo>
                  <a:lnTo>
                    <a:pt x="19" y="2081"/>
                  </a:lnTo>
                  <a:lnTo>
                    <a:pt x="1538" y="1988"/>
                  </a:lnTo>
                  <a:lnTo>
                    <a:pt x="3488" y="2925"/>
                  </a:lnTo>
                  <a:lnTo>
                    <a:pt x="1594" y="1988"/>
                  </a:lnTo>
                  <a:lnTo>
                    <a:pt x="1669" y="150"/>
                  </a:lnTo>
                  <a:lnTo>
                    <a:pt x="3544" y="694"/>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27"/>
              </p:custDataLst>
            </p:nvPr>
          </p:nvSpPr>
          <p:spPr>
            <a:xfrm>
              <a:off x="13248" y="6020"/>
              <a:ext cx="900" cy="1255"/>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74" name="组合 73"/>
          <p:cNvGrpSpPr/>
          <p:nvPr/>
        </p:nvGrpSpPr>
        <p:grpSpPr>
          <a:xfrm>
            <a:off x="7729855" y="4580890"/>
            <a:ext cx="2561590" cy="1619250"/>
            <a:chOff x="11918" y="7214"/>
            <a:chExt cx="4034" cy="2550"/>
          </a:xfrm>
        </p:grpSpPr>
        <p:grpSp>
          <p:nvGrpSpPr>
            <p:cNvPr id="73" name="组合 72"/>
            <p:cNvGrpSpPr/>
            <p:nvPr/>
          </p:nvGrpSpPr>
          <p:grpSpPr>
            <a:xfrm>
              <a:off x="11918" y="8115"/>
              <a:ext cx="4034" cy="1586"/>
              <a:chOff x="10746" y="7890"/>
              <a:chExt cx="6884" cy="1949"/>
            </a:xfrm>
          </p:grpSpPr>
          <p:sp>
            <p:nvSpPr>
              <p:cNvPr id="45" name="任意多边形 44"/>
              <p:cNvSpPr/>
              <p:nvPr>
                <p:custDataLst>
                  <p:tags r:id="rId28"/>
                </p:custDataLst>
              </p:nvPr>
            </p:nvSpPr>
            <p:spPr>
              <a:xfrm>
                <a:off x="11556" y="7890"/>
                <a:ext cx="5760" cy="1755"/>
              </a:xfrm>
              <a:custGeom>
                <a:avLst/>
                <a:gdLst>
                  <a:gd name="connsiteX0" fmla="*/ 0 w 5760"/>
                  <a:gd name="connsiteY0" fmla="*/ 660 h 1755"/>
                  <a:gd name="connsiteX1" fmla="*/ 3780 w 5760"/>
                  <a:gd name="connsiteY1" fmla="*/ 0 h 1755"/>
                  <a:gd name="connsiteX2" fmla="*/ 5760 w 5760"/>
                  <a:gd name="connsiteY2" fmla="*/ 150 h 1755"/>
                  <a:gd name="connsiteX3" fmla="*/ 3165 w 5760"/>
                  <a:gd name="connsiteY3" fmla="*/ 900 h 1755"/>
                  <a:gd name="connsiteX4" fmla="*/ 2520 w 5760"/>
                  <a:gd name="connsiteY4" fmla="*/ 1755 h 1755"/>
                  <a:gd name="connsiteX5" fmla="*/ 630 w 5760"/>
                  <a:gd name="connsiteY5" fmla="*/ 1590 h 1755"/>
                  <a:gd name="connsiteX6" fmla="*/ 3810 w 5760"/>
                  <a:gd name="connsiteY6" fmla="*/ 675 h 1755"/>
                  <a:gd name="connsiteX7" fmla="*/ 570 w 5760"/>
                  <a:gd name="connsiteY7" fmla="*/ 1575 h 1755"/>
                  <a:gd name="connsiteX8" fmla="*/ 0 w 5760"/>
                  <a:gd name="connsiteY8" fmla="*/ 660 h 1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60" h="1755">
                    <a:moveTo>
                      <a:pt x="0" y="660"/>
                    </a:moveTo>
                    <a:lnTo>
                      <a:pt x="3780" y="0"/>
                    </a:lnTo>
                    <a:lnTo>
                      <a:pt x="5760" y="150"/>
                    </a:lnTo>
                    <a:lnTo>
                      <a:pt x="3165" y="900"/>
                    </a:lnTo>
                    <a:lnTo>
                      <a:pt x="2520" y="1755"/>
                    </a:lnTo>
                    <a:lnTo>
                      <a:pt x="630" y="1590"/>
                    </a:lnTo>
                    <a:lnTo>
                      <a:pt x="3810" y="675"/>
                    </a:lnTo>
                    <a:lnTo>
                      <a:pt x="570" y="1575"/>
                    </a:lnTo>
                    <a:lnTo>
                      <a:pt x="0" y="66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72" name="组合 71"/>
              <p:cNvGrpSpPr/>
              <p:nvPr/>
            </p:nvGrpSpPr>
            <p:grpSpPr>
              <a:xfrm>
                <a:off x="10746" y="8055"/>
                <a:ext cx="6884" cy="1784"/>
                <a:chOff x="10746" y="8055"/>
                <a:chExt cx="6884" cy="1784"/>
              </a:xfrm>
            </p:grpSpPr>
            <p:sp>
              <p:nvSpPr>
                <p:cNvPr id="44" name="任意多边形 43"/>
                <p:cNvSpPr/>
                <p:nvPr>
                  <p:custDataLst>
                    <p:tags r:id="rId29"/>
                  </p:custDataLst>
                </p:nvPr>
              </p:nvSpPr>
              <p:spPr>
                <a:xfrm>
                  <a:off x="10746" y="8055"/>
                  <a:ext cx="6885" cy="1785"/>
                </a:xfrm>
                <a:custGeom>
                  <a:avLst/>
                  <a:gdLst>
                    <a:gd name="connisteX0" fmla="*/ 28575 w 4371975"/>
                    <a:gd name="connsiteY0" fmla="*/ 323850 h 1133475"/>
                    <a:gd name="connisteX1" fmla="*/ 495300 w 4371975"/>
                    <a:gd name="connsiteY1" fmla="*/ 333375 h 1133475"/>
                    <a:gd name="connisteX2" fmla="*/ 904875 w 4371975"/>
                    <a:gd name="connsiteY2" fmla="*/ 914400 h 1133475"/>
                    <a:gd name="connisteX3" fmla="*/ 2105025 w 4371975"/>
                    <a:gd name="connsiteY3" fmla="*/ 1028700 h 1133475"/>
                    <a:gd name="connisteX4" fmla="*/ 2533650 w 4371975"/>
                    <a:gd name="connsiteY4" fmla="*/ 476250 h 1133475"/>
                    <a:gd name="connisteX5" fmla="*/ 4171950 w 4371975"/>
                    <a:gd name="connsiteY5" fmla="*/ 0 h 1133475"/>
                    <a:gd name="connisteX6" fmla="*/ 4371975 w 4371975"/>
                    <a:gd name="connsiteY6" fmla="*/ 28575 h 1133475"/>
                    <a:gd name="connisteX7" fmla="*/ 2771775 w 4371975"/>
                    <a:gd name="connsiteY7" fmla="*/ 533400 h 1133475"/>
                    <a:gd name="connisteX8" fmla="*/ 2266950 w 4371975"/>
                    <a:gd name="connsiteY8" fmla="*/ 1133475 h 1133475"/>
                    <a:gd name="connisteX9" fmla="*/ 876300 w 4371975"/>
                    <a:gd name="connsiteY9" fmla="*/ 1019175 h 1133475"/>
                    <a:gd name="connisteX10" fmla="*/ 457200 w 4371975"/>
                    <a:gd name="connsiteY10" fmla="*/ 419100 h 1133475"/>
                    <a:gd name="connisteX11" fmla="*/ 0 w 4371975"/>
                    <a:gd name="connsiteY11" fmla="*/ 409575 h 1133475"/>
                    <a:gd name="connisteX12" fmla="*/ 28575 w 4371975"/>
                    <a:gd name="connsiteY12" fmla="*/ 323850 h 113347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4371975" h="1133475">
                      <a:moveTo>
                        <a:pt x="28575" y="323850"/>
                      </a:moveTo>
                      <a:lnTo>
                        <a:pt x="495300" y="333375"/>
                      </a:lnTo>
                      <a:lnTo>
                        <a:pt x="904875" y="914400"/>
                      </a:lnTo>
                      <a:lnTo>
                        <a:pt x="2105025" y="1028700"/>
                      </a:lnTo>
                      <a:lnTo>
                        <a:pt x="2533650" y="476250"/>
                      </a:lnTo>
                      <a:lnTo>
                        <a:pt x="4171950" y="0"/>
                      </a:lnTo>
                      <a:lnTo>
                        <a:pt x="4371975" y="28575"/>
                      </a:lnTo>
                      <a:lnTo>
                        <a:pt x="2771775" y="533400"/>
                      </a:lnTo>
                      <a:lnTo>
                        <a:pt x="2266950" y="1133475"/>
                      </a:lnTo>
                      <a:lnTo>
                        <a:pt x="876300" y="1019175"/>
                      </a:lnTo>
                      <a:lnTo>
                        <a:pt x="457200" y="419100"/>
                      </a:lnTo>
                      <a:lnTo>
                        <a:pt x="0" y="409575"/>
                      </a:lnTo>
                      <a:lnTo>
                        <a:pt x="28575" y="323850"/>
                      </a:lnTo>
                      <a:close/>
                    </a:path>
                  </a:pathLst>
                </a:custGeom>
                <a:solidFill>
                  <a:schemeClr val="lt1">
                    <a:lumMod val="6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52" name="组合 51"/>
                <p:cNvGrpSpPr/>
                <p:nvPr/>
              </p:nvGrpSpPr>
              <p:grpSpPr>
                <a:xfrm>
                  <a:off x="11751" y="8100"/>
                  <a:ext cx="4559" cy="1188"/>
                  <a:chOff x="11751" y="8100"/>
                  <a:chExt cx="4559" cy="1188"/>
                </a:xfrm>
              </p:grpSpPr>
              <p:sp>
                <p:nvSpPr>
                  <p:cNvPr id="46" name="任意多边形 45"/>
                  <p:cNvSpPr/>
                  <p:nvPr>
                    <p:custDataLst>
                      <p:tags r:id="rId30"/>
                    </p:custDataLst>
                  </p:nvPr>
                </p:nvSpPr>
                <p:spPr>
                  <a:xfrm>
                    <a:off x="13941" y="8221"/>
                    <a:ext cx="1785" cy="440"/>
                  </a:xfrm>
                  <a:custGeom>
                    <a:avLst/>
                    <a:gdLst>
                      <a:gd name="connisteX0" fmla="*/ 1133475 w 1133475"/>
                      <a:gd name="connsiteY0" fmla="*/ 8717 h 279309"/>
                      <a:gd name="connisteX1" fmla="*/ 523875 w 1133475"/>
                      <a:gd name="connsiteY1" fmla="*/ 27767 h 279309"/>
                      <a:gd name="connisteX2" fmla="*/ 361950 w 1133475"/>
                      <a:gd name="connsiteY2" fmla="*/ 246842 h 279309"/>
                      <a:gd name="connisteX3" fmla="*/ 0 w 1133475"/>
                      <a:gd name="connsiteY3" fmla="*/ 275417 h 279309"/>
                    </a:gdLst>
                    <a:ahLst/>
                    <a:cxnLst>
                      <a:cxn ang="0">
                        <a:pos x="connisteX0" y="connsiteY0"/>
                      </a:cxn>
                      <a:cxn ang="0">
                        <a:pos x="connisteX1" y="connsiteY1"/>
                      </a:cxn>
                      <a:cxn ang="0">
                        <a:pos x="connisteX2" y="connsiteY2"/>
                      </a:cxn>
                      <a:cxn ang="0">
                        <a:pos x="connisteX3" y="connsiteY3"/>
                      </a:cxn>
                    </a:cxnLst>
                    <a:rect l="l" t="t" r="r" b="b"/>
                    <a:pathLst>
                      <a:path w="1133475" h="279309">
                        <a:moveTo>
                          <a:pt x="1133475" y="8717"/>
                        </a:moveTo>
                        <a:cubicBezTo>
                          <a:pt x="1014730" y="8082"/>
                          <a:pt x="678180" y="-19858"/>
                          <a:pt x="523875" y="27767"/>
                        </a:cubicBezTo>
                        <a:cubicBezTo>
                          <a:pt x="369570" y="75392"/>
                          <a:pt x="466725" y="197312"/>
                          <a:pt x="361950" y="246842"/>
                        </a:cubicBezTo>
                        <a:cubicBezTo>
                          <a:pt x="257175" y="296372"/>
                          <a:pt x="69215" y="274147"/>
                          <a:pt x="0" y="275417"/>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7" name="任意多边形 46"/>
                  <p:cNvSpPr/>
                  <p:nvPr>
                    <p:custDataLst>
                      <p:tags r:id="rId31"/>
                    </p:custDataLst>
                  </p:nvPr>
                </p:nvSpPr>
                <p:spPr>
                  <a:xfrm>
                    <a:off x="12321" y="8775"/>
                    <a:ext cx="1350" cy="315"/>
                  </a:xfrm>
                  <a:custGeom>
                    <a:avLst/>
                    <a:gdLst>
                      <a:gd name="connisteX0" fmla="*/ 0 w 857250"/>
                      <a:gd name="connsiteY0" fmla="*/ 200025 h 200025"/>
                      <a:gd name="connisteX1" fmla="*/ 200025 w 857250"/>
                      <a:gd name="connsiteY1" fmla="*/ 19050 h 200025"/>
                      <a:gd name="connisteX2" fmla="*/ 533400 w 857250"/>
                      <a:gd name="connsiteY2" fmla="*/ 57150 h 200025"/>
                      <a:gd name="connisteX3" fmla="*/ 857250 w 857250"/>
                      <a:gd name="connsiteY3" fmla="*/ 0 h 200025"/>
                    </a:gdLst>
                    <a:ahLst/>
                    <a:cxnLst>
                      <a:cxn ang="0">
                        <a:pos x="connisteX0" y="connsiteY0"/>
                      </a:cxn>
                      <a:cxn ang="0">
                        <a:pos x="connisteX1" y="connsiteY1"/>
                      </a:cxn>
                      <a:cxn ang="0">
                        <a:pos x="connisteX2" y="connsiteY2"/>
                      </a:cxn>
                      <a:cxn ang="0">
                        <a:pos x="connisteX3" y="connsiteY3"/>
                      </a:cxn>
                    </a:cxnLst>
                    <a:rect l="l" t="t" r="r" b="b"/>
                    <a:pathLst>
                      <a:path w="857250" h="200025">
                        <a:moveTo>
                          <a:pt x="0" y="200025"/>
                        </a:moveTo>
                        <a:cubicBezTo>
                          <a:pt x="33020" y="163195"/>
                          <a:pt x="93345" y="47625"/>
                          <a:pt x="200025" y="19050"/>
                        </a:cubicBezTo>
                        <a:cubicBezTo>
                          <a:pt x="306705" y="-9525"/>
                          <a:pt x="401955" y="60960"/>
                          <a:pt x="533400" y="57150"/>
                        </a:cubicBezTo>
                        <a:cubicBezTo>
                          <a:pt x="664845" y="53340"/>
                          <a:pt x="799465" y="12065"/>
                          <a:pt x="857250" y="0"/>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任意多边形 47"/>
                  <p:cNvSpPr/>
                  <p:nvPr>
                    <p:custDataLst>
                      <p:tags r:id="rId32"/>
                    </p:custDataLst>
                  </p:nvPr>
                </p:nvSpPr>
                <p:spPr>
                  <a:xfrm>
                    <a:off x="14796" y="8100"/>
                    <a:ext cx="1515" cy="480"/>
                  </a:xfrm>
                  <a:custGeom>
                    <a:avLst/>
                    <a:gdLst>
                      <a:gd name="connisteX0" fmla="*/ 962025 w 962025"/>
                      <a:gd name="connsiteY0" fmla="*/ 0 h 304800"/>
                      <a:gd name="connisteX1" fmla="*/ 590550 w 962025"/>
                      <a:gd name="connsiteY1" fmla="*/ 180975 h 304800"/>
                      <a:gd name="connisteX2" fmla="*/ 209550 w 962025"/>
                      <a:gd name="connsiteY2" fmla="*/ 190500 h 304800"/>
                      <a:gd name="connisteX3" fmla="*/ 0 w 962025"/>
                      <a:gd name="connsiteY3" fmla="*/ 304800 h 304800"/>
                    </a:gdLst>
                    <a:ahLst/>
                    <a:cxnLst>
                      <a:cxn ang="0">
                        <a:pos x="connisteX0" y="connsiteY0"/>
                      </a:cxn>
                      <a:cxn ang="0">
                        <a:pos x="connisteX1" y="connsiteY1"/>
                      </a:cxn>
                      <a:cxn ang="0">
                        <a:pos x="connisteX2" y="connsiteY2"/>
                      </a:cxn>
                      <a:cxn ang="0">
                        <a:pos x="connisteX3" y="connsiteY3"/>
                      </a:cxn>
                    </a:cxnLst>
                    <a:rect l="l" t="t" r="r" b="b"/>
                    <a:pathLst>
                      <a:path w="962025" h="304800">
                        <a:moveTo>
                          <a:pt x="962025" y="0"/>
                        </a:moveTo>
                        <a:cubicBezTo>
                          <a:pt x="895350" y="36195"/>
                          <a:pt x="741045" y="142875"/>
                          <a:pt x="590550" y="180975"/>
                        </a:cubicBezTo>
                        <a:cubicBezTo>
                          <a:pt x="440055" y="219075"/>
                          <a:pt x="327660" y="165735"/>
                          <a:pt x="209550" y="190500"/>
                        </a:cubicBezTo>
                        <a:cubicBezTo>
                          <a:pt x="91440" y="215265"/>
                          <a:pt x="34290" y="281940"/>
                          <a:pt x="0" y="304800"/>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9" name="任意多边形 48"/>
                  <p:cNvSpPr/>
                  <p:nvPr>
                    <p:custDataLst>
                      <p:tags r:id="rId33"/>
                    </p:custDataLst>
                  </p:nvPr>
                </p:nvSpPr>
                <p:spPr>
                  <a:xfrm>
                    <a:off x="13206" y="8280"/>
                    <a:ext cx="1215" cy="345"/>
                  </a:xfrm>
                  <a:custGeom>
                    <a:avLst/>
                    <a:gdLst>
                      <a:gd name="connisteX0" fmla="*/ 771525 w 771525"/>
                      <a:gd name="connsiteY0" fmla="*/ 0 h 219075"/>
                      <a:gd name="connisteX1" fmla="*/ 209550 w 771525"/>
                      <a:gd name="connsiteY1" fmla="*/ 85725 h 219075"/>
                      <a:gd name="connisteX2" fmla="*/ 0 w 771525"/>
                      <a:gd name="connsiteY2" fmla="*/ 219075 h 219075"/>
                    </a:gdLst>
                    <a:ahLst/>
                    <a:cxnLst>
                      <a:cxn ang="0">
                        <a:pos x="connisteX0" y="connsiteY0"/>
                      </a:cxn>
                      <a:cxn ang="0">
                        <a:pos x="connisteX1" y="connsiteY1"/>
                      </a:cxn>
                      <a:cxn ang="0">
                        <a:pos x="connisteX2" y="connsiteY2"/>
                      </a:cxn>
                    </a:cxnLst>
                    <a:rect l="l" t="t" r="r" b="b"/>
                    <a:pathLst>
                      <a:path w="771525" h="219075">
                        <a:moveTo>
                          <a:pt x="771525" y="0"/>
                        </a:moveTo>
                        <a:cubicBezTo>
                          <a:pt x="663575" y="14605"/>
                          <a:pt x="363855" y="41910"/>
                          <a:pt x="209550" y="85725"/>
                        </a:cubicBezTo>
                        <a:cubicBezTo>
                          <a:pt x="55245" y="129540"/>
                          <a:pt x="30480" y="194310"/>
                          <a:pt x="0" y="219075"/>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0" name="任意多边形 49"/>
                  <p:cNvSpPr/>
                  <p:nvPr>
                    <p:custDataLst>
                      <p:tags r:id="rId34"/>
                    </p:custDataLst>
                  </p:nvPr>
                </p:nvSpPr>
                <p:spPr>
                  <a:xfrm>
                    <a:off x="12546" y="8958"/>
                    <a:ext cx="1875" cy="330"/>
                  </a:xfrm>
                  <a:custGeom>
                    <a:avLst/>
                    <a:gdLst>
                      <a:gd name="connisteX0" fmla="*/ 1190625 w 1190625"/>
                      <a:gd name="connsiteY0" fmla="*/ 26625 h 209850"/>
                      <a:gd name="connisteX1" fmla="*/ 704850 w 1190625"/>
                      <a:gd name="connsiteY1" fmla="*/ 7575 h 209850"/>
                      <a:gd name="connisteX2" fmla="*/ 400050 w 1190625"/>
                      <a:gd name="connsiteY2" fmla="*/ 140925 h 209850"/>
                      <a:gd name="connisteX3" fmla="*/ 200025 w 1190625"/>
                      <a:gd name="connsiteY3" fmla="*/ 207600 h 209850"/>
                      <a:gd name="connisteX4" fmla="*/ 0 w 1190625"/>
                      <a:gd name="connsiteY4" fmla="*/ 188550 h 20985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190625" h="209850">
                        <a:moveTo>
                          <a:pt x="1190625" y="26626"/>
                        </a:moveTo>
                        <a:cubicBezTo>
                          <a:pt x="1099820" y="20276"/>
                          <a:pt x="862965" y="-15284"/>
                          <a:pt x="704850" y="7576"/>
                        </a:cubicBezTo>
                        <a:cubicBezTo>
                          <a:pt x="546735" y="30436"/>
                          <a:pt x="501015" y="100921"/>
                          <a:pt x="400050" y="140926"/>
                        </a:cubicBezTo>
                        <a:cubicBezTo>
                          <a:pt x="299085" y="180931"/>
                          <a:pt x="280035" y="198076"/>
                          <a:pt x="200025" y="207601"/>
                        </a:cubicBezTo>
                        <a:cubicBezTo>
                          <a:pt x="120015" y="217126"/>
                          <a:pt x="36195" y="193631"/>
                          <a:pt x="0" y="188551"/>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任意多边形 50"/>
                  <p:cNvSpPr/>
                  <p:nvPr>
                    <p:custDataLst>
                      <p:tags r:id="rId35"/>
                    </p:custDataLst>
                  </p:nvPr>
                </p:nvSpPr>
                <p:spPr>
                  <a:xfrm>
                    <a:off x="11751" y="8514"/>
                    <a:ext cx="1230" cy="320"/>
                  </a:xfrm>
                  <a:custGeom>
                    <a:avLst/>
                    <a:gdLst>
                      <a:gd name="connisteX0" fmla="*/ 781050 w 781050"/>
                      <a:gd name="connsiteY0" fmla="*/ 3814 h 203343"/>
                      <a:gd name="connisteX1" fmla="*/ 323850 w 781050"/>
                      <a:gd name="connsiteY1" fmla="*/ 22864 h 203343"/>
                      <a:gd name="connisteX2" fmla="*/ 133350 w 781050"/>
                      <a:gd name="connsiteY2" fmla="*/ 184789 h 203343"/>
                      <a:gd name="connisteX3" fmla="*/ 0 w 781050"/>
                      <a:gd name="connsiteY3" fmla="*/ 194314 h 203343"/>
                    </a:gdLst>
                    <a:ahLst/>
                    <a:cxnLst>
                      <a:cxn ang="0">
                        <a:pos x="connisteX0" y="connsiteY0"/>
                      </a:cxn>
                      <a:cxn ang="0">
                        <a:pos x="connisteX1" y="connsiteY1"/>
                      </a:cxn>
                      <a:cxn ang="0">
                        <a:pos x="connisteX2" y="connsiteY2"/>
                      </a:cxn>
                      <a:cxn ang="0">
                        <a:pos x="connisteX3" y="connsiteY3"/>
                      </a:cxn>
                    </a:cxnLst>
                    <a:rect l="l" t="t" r="r" b="b"/>
                    <a:pathLst>
                      <a:path w="781050" h="203343">
                        <a:moveTo>
                          <a:pt x="781050" y="3814"/>
                        </a:moveTo>
                        <a:cubicBezTo>
                          <a:pt x="693420" y="4449"/>
                          <a:pt x="453390" y="-13331"/>
                          <a:pt x="323850" y="22864"/>
                        </a:cubicBezTo>
                        <a:cubicBezTo>
                          <a:pt x="194310" y="59059"/>
                          <a:pt x="198120" y="150499"/>
                          <a:pt x="133350" y="184789"/>
                        </a:cubicBezTo>
                        <a:cubicBezTo>
                          <a:pt x="68580" y="219079"/>
                          <a:pt x="22860" y="195584"/>
                          <a:pt x="0" y="194314"/>
                        </a:cubicBezTo>
                      </a:path>
                    </a:pathLst>
                  </a:custGeom>
                  <a:noFill/>
                  <a:ln>
                    <a:solidFill>
                      <a:schemeClr val="lt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grpSp>
          <p:nvGrpSpPr>
            <p:cNvPr id="70" name="组合 69"/>
            <p:cNvGrpSpPr/>
            <p:nvPr/>
          </p:nvGrpSpPr>
          <p:grpSpPr>
            <a:xfrm>
              <a:off x="14509" y="7438"/>
              <a:ext cx="974" cy="1304"/>
              <a:chOff x="15996" y="7230"/>
              <a:chExt cx="974" cy="1469"/>
            </a:xfrm>
            <a:solidFill>
              <a:schemeClr val="accent2">
                <a:lumMod val="75000"/>
              </a:schemeClr>
            </a:solidFill>
          </p:grpSpPr>
          <p:sp>
            <p:nvSpPr>
              <p:cNvPr id="53" name="椭圆 52"/>
              <p:cNvSpPr/>
              <p:nvPr>
                <p:custDataLst>
                  <p:tags r:id="rId36"/>
                </p:custDataLst>
              </p:nvPr>
            </p:nvSpPr>
            <p:spPr>
              <a:xfrm>
                <a:off x="16221" y="7230"/>
                <a:ext cx="420" cy="480"/>
              </a:xfrm>
              <a:prstGeom prst="ellipse">
                <a:avLst/>
              </a:pr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4" name="任意多边形 53"/>
              <p:cNvSpPr/>
              <p:nvPr>
                <p:custDataLst>
                  <p:tags r:id="rId37"/>
                </p:custDataLst>
              </p:nvPr>
            </p:nvSpPr>
            <p:spPr>
              <a:xfrm>
                <a:off x="15996" y="7725"/>
                <a:ext cx="975" cy="975"/>
              </a:xfrm>
              <a:custGeom>
                <a:avLst/>
                <a:gdLst>
                  <a:gd name="connisteX0" fmla="*/ 0 w 619125"/>
                  <a:gd name="connsiteY0" fmla="*/ 180975 h 619125"/>
                  <a:gd name="connisteX1" fmla="*/ 276225 w 619125"/>
                  <a:gd name="connsiteY1" fmla="*/ 0 h 619125"/>
                  <a:gd name="connisteX2" fmla="*/ 619125 w 619125"/>
                  <a:gd name="connsiteY2" fmla="*/ 161925 h 619125"/>
                  <a:gd name="connisteX3" fmla="*/ 285750 w 619125"/>
                  <a:gd name="connsiteY3" fmla="*/ 9525 h 619125"/>
                  <a:gd name="connisteX4" fmla="*/ 314325 w 619125"/>
                  <a:gd name="connsiteY4" fmla="*/ 285750 h 619125"/>
                  <a:gd name="connisteX5" fmla="*/ 428625 w 619125"/>
                  <a:gd name="connsiteY5" fmla="*/ 371475 h 619125"/>
                  <a:gd name="connisteX6" fmla="*/ 495300 w 619125"/>
                  <a:gd name="connsiteY6" fmla="*/ 495300 h 619125"/>
                  <a:gd name="connisteX7" fmla="*/ 390525 w 619125"/>
                  <a:gd name="connsiteY7" fmla="*/ 390525 h 619125"/>
                  <a:gd name="connisteX8" fmla="*/ 304800 w 619125"/>
                  <a:gd name="connsiteY8" fmla="*/ 295275 h 619125"/>
                  <a:gd name="connisteX9" fmla="*/ 219075 w 619125"/>
                  <a:gd name="connsiteY9" fmla="*/ 400050 h 619125"/>
                  <a:gd name="connisteX10" fmla="*/ 171450 w 619125"/>
                  <a:gd name="connsiteY10" fmla="*/ 619125 h 619125"/>
                  <a:gd name="connisteX11" fmla="*/ 180975 w 619125"/>
                  <a:gd name="connsiteY11" fmla="*/ 409575 h 619125"/>
                  <a:gd name="connisteX12" fmla="*/ 304800 w 619125"/>
                  <a:gd name="connsiteY12" fmla="*/ 266700 h 619125"/>
                  <a:gd name="connisteX13" fmla="*/ 276225 w 619125"/>
                  <a:gd name="connsiteY13" fmla="*/ 28575 h 619125"/>
                  <a:gd name="connisteX14" fmla="*/ 47625 w 619125"/>
                  <a:gd name="connsiteY14" fmla="*/ 161925 h 619125"/>
                  <a:gd name="connisteX15" fmla="*/ 0 w 619125"/>
                  <a:gd name="connsiteY15" fmla="*/ 180975 h 619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Lst>
                <a:rect l="l" t="t" r="r" b="b"/>
                <a:pathLst>
                  <a:path w="619125" h="619125">
                    <a:moveTo>
                      <a:pt x="0" y="180975"/>
                    </a:moveTo>
                    <a:lnTo>
                      <a:pt x="276225" y="0"/>
                    </a:lnTo>
                    <a:lnTo>
                      <a:pt x="619125" y="161925"/>
                    </a:lnTo>
                    <a:lnTo>
                      <a:pt x="285750" y="9525"/>
                    </a:lnTo>
                    <a:lnTo>
                      <a:pt x="314325" y="285750"/>
                    </a:lnTo>
                    <a:lnTo>
                      <a:pt x="428625" y="371475"/>
                    </a:lnTo>
                    <a:lnTo>
                      <a:pt x="495300" y="495300"/>
                    </a:lnTo>
                    <a:lnTo>
                      <a:pt x="390525" y="390525"/>
                    </a:lnTo>
                    <a:lnTo>
                      <a:pt x="304800" y="295275"/>
                    </a:lnTo>
                    <a:lnTo>
                      <a:pt x="219075" y="400050"/>
                    </a:lnTo>
                    <a:lnTo>
                      <a:pt x="171450" y="619125"/>
                    </a:lnTo>
                    <a:lnTo>
                      <a:pt x="180975" y="409575"/>
                    </a:lnTo>
                    <a:lnTo>
                      <a:pt x="304800" y="266700"/>
                    </a:lnTo>
                    <a:lnTo>
                      <a:pt x="276225" y="28575"/>
                    </a:lnTo>
                    <a:lnTo>
                      <a:pt x="47625" y="161925"/>
                    </a:lnTo>
                    <a:lnTo>
                      <a:pt x="0" y="180975"/>
                    </a:lnTo>
                    <a:close/>
                  </a:path>
                </a:pathLst>
              </a:custGeom>
              <a:solidFill>
                <a:schemeClr val="accent2">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71" name="禁止符 70"/>
            <p:cNvSpPr/>
            <p:nvPr>
              <p:custDataLst>
                <p:tags r:id="rId38"/>
              </p:custDataLst>
            </p:nvPr>
          </p:nvSpPr>
          <p:spPr>
            <a:xfrm>
              <a:off x="12933" y="7214"/>
              <a:ext cx="2551" cy="2551"/>
            </a:xfrm>
            <a:prstGeom prst="noSmoking">
              <a:avLst>
                <a:gd name="adj" fmla="val 5777"/>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39"/>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40"/>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75" name="文本框 74"/>
            <p:cNvSpPr txBox="1"/>
            <p:nvPr>
              <p:custDataLst>
                <p:tags r:id="rId41"/>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台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42"/>
    </p:custData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1"/>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2"/>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3"/>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4"/>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5"/>
            </p:custDataLst>
          </p:nvPr>
        </p:nvSpPr>
        <p:spPr>
          <a:xfrm>
            <a:off x="704850" y="1770380"/>
            <a:ext cx="5866765" cy="3322955"/>
          </a:xfrm>
          <a:prstGeom prst="rect">
            <a:avLst/>
          </a:prstGeom>
          <a:noFill/>
        </p:spPr>
        <p:txBody>
          <a:bodyPr wrap="square" rtlCol="0">
            <a:spAutoFit/>
          </a:bodyPr>
          <a:lstStyle/>
          <a:p>
            <a:pPr>
              <a:lnSpc>
                <a:spcPct val="150000"/>
              </a:lnSpc>
            </a:pPr>
            <a:r>
              <a:rPr sz="2000">
                <a:solidFill>
                  <a:schemeClr val="dk1"/>
                </a:solidFill>
                <a:latin typeface="+mn-ea"/>
                <a:cs typeface="+mn-ea"/>
              </a:rPr>
              <a:t>（4）台风已经到达眼前时，应寻找低洼地形趴下，闭上口、眼、用双手、双臂保护头部，防止被飞来物砸伤。</a:t>
            </a: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endParaRPr sz="2000">
              <a:solidFill>
                <a:schemeClr val="dk1"/>
              </a:solidFill>
              <a:latin typeface="+mn-ea"/>
              <a:cs typeface="+mn-ea"/>
            </a:endParaRPr>
          </a:p>
          <a:p>
            <a:pPr>
              <a:lnSpc>
                <a:spcPct val="150000"/>
              </a:lnSpc>
            </a:pPr>
            <a:r>
              <a:rPr lang="zh-CN" sz="2000">
                <a:solidFill>
                  <a:schemeClr val="dk1"/>
                </a:solidFill>
                <a:latin typeface="+mn-ea"/>
                <a:cs typeface="+mn-ea"/>
              </a:rPr>
              <a:t>（</a:t>
            </a:r>
            <a:r>
              <a:rPr lang="en-US" altLang="zh-CN" sz="2000">
                <a:solidFill>
                  <a:schemeClr val="dk1"/>
                </a:solidFill>
                <a:latin typeface="+mn-ea"/>
                <a:cs typeface="+mn-ea"/>
              </a:rPr>
              <a:t>5</a:t>
            </a:r>
            <a:r>
              <a:rPr sz="2000">
                <a:solidFill>
                  <a:schemeClr val="dk1"/>
                </a:solidFill>
                <a:latin typeface="+mn-ea"/>
                <a:cs typeface="+mn-ea"/>
              </a:rPr>
              <a:t>）乘坐汽车遇到台风，应下车躲避，不要留在车内。</a:t>
            </a:r>
            <a:endParaRPr lang="zh-CN" altLang="en-US" sz="2000">
              <a:solidFill>
                <a:schemeClr val="dk1"/>
              </a:solidFill>
            </a:endParaRPr>
          </a:p>
        </p:txBody>
      </p:sp>
      <p:grpSp>
        <p:nvGrpSpPr>
          <p:cNvPr id="43" name="组合 42"/>
          <p:cNvGrpSpPr/>
          <p:nvPr/>
        </p:nvGrpSpPr>
        <p:grpSpPr>
          <a:xfrm>
            <a:off x="7899204" y="1573163"/>
            <a:ext cx="2619488" cy="1850921"/>
            <a:chOff x="9708" y="4186"/>
            <a:chExt cx="5521" cy="4024"/>
          </a:xfrm>
        </p:grpSpPr>
        <p:sp>
          <p:nvSpPr>
            <p:cNvPr id="41" name="任意多边形 40"/>
            <p:cNvSpPr/>
            <p:nvPr>
              <p:custDataLst>
                <p:tags r:id="rId6"/>
              </p:custDataLst>
            </p:nvPr>
          </p:nvSpPr>
          <p:spPr>
            <a:xfrm rot="5700000">
              <a:off x="10456" y="3437"/>
              <a:ext cx="4024" cy="5521"/>
            </a:xfrm>
            <a:custGeom>
              <a:avLst/>
              <a:gdLst>
                <a:gd name="connsiteX0" fmla="*/ 2649 w 2915"/>
                <a:gd name="connsiteY0" fmla="*/ 503 h 4125"/>
                <a:gd name="connsiteX1" fmla="*/ 1276 w 2915"/>
                <a:gd name="connsiteY1" fmla="*/ 109 h 4125"/>
                <a:gd name="connsiteX2" fmla="*/ 1458 w 2915"/>
                <a:gd name="connsiteY2" fmla="*/ 0 h 4125"/>
                <a:gd name="connsiteX3" fmla="*/ 2915 w 2915"/>
                <a:gd name="connsiteY3" fmla="*/ 421 h 4125"/>
                <a:gd name="connsiteX4" fmla="*/ 2887 w 2915"/>
                <a:gd name="connsiteY4" fmla="*/ 2296 h 4125"/>
                <a:gd name="connsiteX5" fmla="*/ 1066 w 2915"/>
                <a:gd name="connsiteY5" fmla="*/ 2445 h 4125"/>
                <a:gd name="connsiteX6" fmla="*/ 1031 w 2915"/>
                <a:gd name="connsiteY6" fmla="*/ 4125 h 4125"/>
                <a:gd name="connsiteX7" fmla="*/ 25 w 2915"/>
                <a:gd name="connsiteY7" fmla="*/ 3344 h 4125"/>
                <a:gd name="connsiteX8" fmla="*/ 0 w 2915"/>
                <a:gd name="connsiteY8" fmla="*/ 1731 h 4125"/>
                <a:gd name="connsiteX9" fmla="*/ 1 w 2915"/>
                <a:gd name="connsiteY9" fmla="*/ 1494 h 4125"/>
                <a:gd name="connsiteX10" fmla="*/ 1052 w 2915"/>
                <a:gd name="connsiteY10" fmla="*/ 2187 h 4125"/>
                <a:gd name="connsiteX11" fmla="*/ 2621 w 2915"/>
                <a:gd name="connsiteY11" fmla="*/ 2133 h 4125"/>
                <a:gd name="connsiteX12" fmla="*/ 2677 w 2915"/>
                <a:gd name="connsiteY12" fmla="*/ 503 h 4125"/>
                <a:gd name="connsiteX13" fmla="*/ 2607 w 2915"/>
                <a:gd name="connsiteY13" fmla="*/ 2133 h 4125"/>
                <a:gd name="connsiteX14" fmla="*/ 1038 w 2915"/>
                <a:gd name="connsiteY14" fmla="*/ 2159 h 4125"/>
                <a:gd name="connsiteX15" fmla="*/ 15 w 2915"/>
                <a:gd name="connsiteY15" fmla="*/ 1507 h 4125"/>
                <a:gd name="connsiteX16" fmla="*/ 1150 w 2915"/>
                <a:gd name="connsiteY16" fmla="*/ 1440 h 4125"/>
                <a:gd name="connsiteX17" fmla="*/ 2607 w 2915"/>
                <a:gd name="connsiteY17" fmla="*/ 2119 h 4125"/>
                <a:gd name="connsiteX18" fmla="*/ 1192 w 2915"/>
                <a:gd name="connsiteY18" fmla="*/ 1440 h 4125"/>
                <a:gd name="connsiteX19" fmla="*/ 1248 w 2915"/>
                <a:gd name="connsiteY19" fmla="*/ 109 h 4125"/>
                <a:gd name="connsiteX20" fmla="*/ 2649 w 2915"/>
                <a:gd name="connsiteY20" fmla="*/ 503 h 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15" h="4125">
                  <a:moveTo>
                    <a:pt x="2649" y="503"/>
                  </a:moveTo>
                  <a:lnTo>
                    <a:pt x="1276" y="109"/>
                  </a:lnTo>
                  <a:lnTo>
                    <a:pt x="1458" y="0"/>
                  </a:lnTo>
                  <a:lnTo>
                    <a:pt x="2915" y="421"/>
                  </a:lnTo>
                  <a:lnTo>
                    <a:pt x="2887" y="2296"/>
                  </a:lnTo>
                  <a:lnTo>
                    <a:pt x="1066" y="2445"/>
                  </a:lnTo>
                  <a:lnTo>
                    <a:pt x="1031" y="4125"/>
                  </a:lnTo>
                  <a:lnTo>
                    <a:pt x="25" y="3344"/>
                  </a:lnTo>
                  <a:lnTo>
                    <a:pt x="0" y="1731"/>
                  </a:lnTo>
                  <a:lnTo>
                    <a:pt x="1" y="1494"/>
                  </a:lnTo>
                  <a:lnTo>
                    <a:pt x="1052" y="2187"/>
                  </a:lnTo>
                  <a:lnTo>
                    <a:pt x="2621" y="2133"/>
                  </a:lnTo>
                  <a:lnTo>
                    <a:pt x="2677" y="503"/>
                  </a:lnTo>
                  <a:lnTo>
                    <a:pt x="2607" y="2133"/>
                  </a:lnTo>
                  <a:lnTo>
                    <a:pt x="1038" y="2159"/>
                  </a:lnTo>
                  <a:lnTo>
                    <a:pt x="15" y="1507"/>
                  </a:lnTo>
                  <a:lnTo>
                    <a:pt x="1150" y="1440"/>
                  </a:lnTo>
                  <a:lnTo>
                    <a:pt x="2607" y="2119"/>
                  </a:lnTo>
                  <a:lnTo>
                    <a:pt x="1192" y="1440"/>
                  </a:lnTo>
                  <a:lnTo>
                    <a:pt x="1248" y="109"/>
                  </a:lnTo>
                  <a:lnTo>
                    <a:pt x="2649" y="503"/>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7"/>
              </p:custDataLst>
            </p:nvPr>
          </p:nvSpPr>
          <p:spPr>
            <a:xfrm rot="17100000">
              <a:off x="13234" y="6039"/>
              <a:ext cx="928" cy="1217"/>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 name="任意多边形 2"/>
          <p:cNvSpPr/>
          <p:nvPr>
            <p:custDataLst>
              <p:tags r:id="rId8"/>
            </p:custDataLst>
          </p:nvPr>
        </p:nvSpPr>
        <p:spPr>
          <a:xfrm>
            <a:off x="8475345" y="1359535"/>
            <a:ext cx="2352675" cy="1627505"/>
          </a:xfrm>
          <a:custGeom>
            <a:avLst/>
            <a:gdLst>
              <a:gd name="connisteX0" fmla="*/ 581025 w 3438525"/>
              <a:gd name="connsiteY0" fmla="*/ 66675 h 1800225"/>
              <a:gd name="connisteX1" fmla="*/ 0 w 3438525"/>
              <a:gd name="connsiteY1" fmla="*/ 323850 h 1800225"/>
              <a:gd name="connisteX2" fmla="*/ 438150 w 3438525"/>
              <a:gd name="connsiteY2" fmla="*/ 628650 h 1800225"/>
              <a:gd name="connisteX3" fmla="*/ 323850 w 3438525"/>
              <a:gd name="connsiteY3" fmla="*/ 885825 h 1800225"/>
              <a:gd name="connisteX4" fmla="*/ 866775 w 3438525"/>
              <a:gd name="connsiteY4" fmla="*/ 962025 h 1800225"/>
              <a:gd name="connisteX5" fmla="*/ 1104900 w 3438525"/>
              <a:gd name="connsiteY5" fmla="*/ 1200150 h 1800225"/>
              <a:gd name="connisteX6" fmla="*/ 1885950 w 3438525"/>
              <a:gd name="connsiteY6" fmla="*/ 1200150 h 1800225"/>
              <a:gd name="connisteX7" fmla="*/ 2352675 w 3438525"/>
              <a:gd name="connsiteY7" fmla="*/ 1590675 h 1800225"/>
              <a:gd name="connisteX8" fmla="*/ 2628900 w 3438525"/>
              <a:gd name="connsiteY8" fmla="*/ 1800225 h 1800225"/>
              <a:gd name="connisteX9" fmla="*/ 2895600 w 3438525"/>
              <a:gd name="connsiteY9" fmla="*/ 1543050 h 1800225"/>
              <a:gd name="connisteX10" fmla="*/ 3438525 w 3438525"/>
              <a:gd name="connsiteY10" fmla="*/ 1485900 h 1800225"/>
              <a:gd name="connisteX11" fmla="*/ 3190875 w 3438525"/>
              <a:gd name="connsiteY11" fmla="*/ 1228725 h 1800225"/>
              <a:gd name="connisteX12" fmla="*/ 3400425 w 3438525"/>
              <a:gd name="connsiteY12" fmla="*/ 1104900 h 1800225"/>
              <a:gd name="connisteX13" fmla="*/ 2933700 w 3438525"/>
              <a:gd name="connsiteY13" fmla="*/ 800100 h 1800225"/>
              <a:gd name="connisteX14" fmla="*/ 3038475 w 3438525"/>
              <a:gd name="connsiteY14" fmla="*/ 590550 h 1800225"/>
              <a:gd name="connisteX15" fmla="*/ 2476500 w 3438525"/>
              <a:gd name="connsiteY15" fmla="*/ 247650 h 1800225"/>
              <a:gd name="connisteX16" fmla="*/ 1562100 w 3438525"/>
              <a:gd name="connsiteY16" fmla="*/ 38100 h 1800225"/>
              <a:gd name="connisteX17" fmla="*/ 933450 w 3438525"/>
              <a:gd name="connsiteY17" fmla="*/ 0 h 1800225"/>
              <a:gd name="connisteX18" fmla="*/ 581025 w 3438525"/>
              <a:gd name="connsiteY18" fmla="*/ 66675 h 18002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 ang="0">
                <a:pos x="connisteX13" y="connsiteY13"/>
              </a:cxn>
              <a:cxn ang="0">
                <a:pos x="connisteX14" y="connsiteY14"/>
              </a:cxn>
              <a:cxn ang="0">
                <a:pos x="connisteX15" y="connsiteY15"/>
              </a:cxn>
              <a:cxn ang="0">
                <a:pos x="connisteX16" y="connsiteY16"/>
              </a:cxn>
              <a:cxn ang="0">
                <a:pos x="connisteX17" y="connsiteY17"/>
              </a:cxn>
              <a:cxn ang="0">
                <a:pos x="connisteX18" y="connsiteY18"/>
              </a:cxn>
            </a:cxnLst>
            <a:rect l="l" t="t" r="r" b="b"/>
            <a:pathLst>
              <a:path w="3438525" h="1800225">
                <a:moveTo>
                  <a:pt x="581025" y="66675"/>
                </a:moveTo>
                <a:lnTo>
                  <a:pt x="0" y="323850"/>
                </a:lnTo>
                <a:lnTo>
                  <a:pt x="438150" y="628650"/>
                </a:lnTo>
                <a:lnTo>
                  <a:pt x="323850" y="885825"/>
                </a:lnTo>
                <a:lnTo>
                  <a:pt x="866775" y="962025"/>
                </a:lnTo>
                <a:lnTo>
                  <a:pt x="1104900" y="1200150"/>
                </a:lnTo>
                <a:lnTo>
                  <a:pt x="1885950" y="1200150"/>
                </a:lnTo>
                <a:lnTo>
                  <a:pt x="2352675" y="1590675"/>
                </a:lnTo>
                <a:lnTo>
                  <a:pt x="2628900" y="1800225"/>
                </a:lnTo>
                <a:lnTo>
                  <a:pt x="2895600" y="1543050"/>
                </a:lnTo>
                <a:lnTo>
                  <a:pt x="3438525" y="1485900"/>
                </a:lnTo>
                <a:lnTo>
                  <a:pt x="3190875" y="1228725"/>
                </a:lnTo>
                <a:lnTo>
                  <a:pt x="3400425" y="1104900"/>
                </a:lnTo>
                <a:lnTo>
                  <a:pt x="2933700" y="800100"/>
                </a:lnTo>
                <a:lnTo>
                  <a:pt x="3038475" y="590550"/>
                </a:lnTo>
                <a:lnTo>
                  <a:pt x="2476500" y="247650"/>
                </a:lnTo>
                <a:lnTo>
                  <a:pt x="1562100" y="38100"/>
                </a:lnTo>
                <a:lnTo>
                  <a:pt x="933450" y="0"/>
                </a:lnTo>
                <a:lnTo>
                  <a:pt x="581025" y="66675"/>
                </a:lnTo>
                <a:close/>
              </a:path>
            </a:pathLst>
          </a:custGeom>
          <a:solidFill>
            <a:schemeClr val="lt2">
              <a:lumMod val="50000"/>
            </a:schemeClr>
          </a:solidFill>
          <a:ln>
            <a:noFill/>
          </a:ln>
          <a:scene3d>
            <a:camera prst="perspectiveAbove"/>
            <a:lightRig rig="threePt" dir="t"/>
          </a:scene3d>
          <a:sp3d extrusionH="254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47" name="组合 46"/>
          <p:cNvGrpSpPr/>
          <p:nvPr/>
        </p:nvGrpSpPr>
        <p:grpSpPr>
          <a:xfrm>
            <a:off x="7899204" y="3999230"/>
            <a:ext cx="2993390" cy="1732915"/>
            <a:chOff x="11469" y="6298"/>
            <a:chExt cx="5598" cy="3194"/>
          </a:xfrm>
        </p:grpSpPr>
        <p:grpSp>
          <p:nvGrpSpPr>
            <p:cNvPr id="37" name="组合 36"/>
            <p:cNvGrpSpPr/>
            <p:nvPr/>
          </p:nvGrpSpPr>
          <p:grpSpPr>
            <a:xfrm>
              <a:off x="11562" y="6851"/>
              <a:ext cx="4110" cy="2388"/>
              <a:chOff x="11562" y="6851"/>
              <a:chExt cx="4110" cy="2388"/>
            </a:xfrm>
          </p:grpSpPr>
          <p:grpSp>
            <p:nvGrpSpPr>
              <p:cNvPr id="28" name="组合 27"/>
              <p:cNvGrpSpPr/>
              <p:nvPr/>
            </p:nvGrpSpPr>
            <p:grpSpPr>
              <a:xfrm>
                <a:off x="11971" y="8505"/>
                <a:ext cx="3291" cy="734"/>
                <a:chOff x="11971" y="8505"/>
                <a:chExt cx="3291" cy="734"/>
              </a:xfrm>
              <a:solidFill>
                <a:schemeClr val="tx1">
                  <a:lumMod val="65000"/>
                  <a:lumOff val="35000"/>
                </a:schemeClr>
              </a:solidFill>
            </p:grpSpPr>
            <p:sp>
              <p:nvSpPr>
                <p:cNvPr id="26" name="圆角矩形 25"/>
                <p:cNvSpPr/>
                <p:nvPr>
                  <p:custDataLst>
                    <p:tags r:id="rId9"/>
                  </p:custDataLst>
                </p:nvPr>
              </p:nvSpPr>
              <p:spPr>
                <a:xfrm>
                  <a:off x="11971"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圆角矩形 26"/>
                <p:cNvSpPr/>
                <p:nvPr>
                  <p:custDataLst>
                    <p:tags r:id="rId10"/>
                  </p:custDataLst>
                </p:nvPr>
              </p:nvSpPr>
              <p:spPr>
                <a:xfrm>
                  <a:off x="14804" y="8505"/>
                  <a:ext cx="459" cy="734"/>
                </a:xfrm>
                <a:prstGeom prst="roundRect">
                  <a:avLst>
                    <a:gd name="adj" fmla="val 45762"/>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5" name="同侧圆角矩形 4"/>
              <p:cNvSpPr/>
              <p:nvPr>
                <p:custDataLst>
                  <p:tags r:id="rId11"/>
                </p:custDataLst>
              </p:nvPr>
            </p:nvSpPr>
            <p:spPr>
              <a:xfrm>
                <a:off x="11971" y="6851"/>
                <a:ext cx="3292" cy="1109"/>
              </a:xfrm>
              <a:prstGeom prst="round2SameRect">
                <a:avLst>
                  <a:gd name="adj1" fmla="val 50000"/>
                  <a:gd name="adj2" fmla="val 0"/>
                </a:avLst>
              </a:prstGeom>
              <a:solidFill>
                <a:schemeClr val="dk1">
                  <a:lumMod val="65000"/>
                  <a:lumOff val="3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圆角矩形 5"/>
              <p:cNvSpPr/>
              <p:nvPr>
                <p:custDataLst>
                  <p:tags r:id="rId12"/>
                </p:custDataLst>
              </p:nvPr>
            </p:nvSpPr>
            <p:spPr>
              <a:xfrm>
                <a:off x="11562" y="7960"/>
                <a:ext cx="4111" cy="917"/>
              </a:xfrm>
              <a:prstGeom prst="roundRect">
                <a:avLst>
                  <a:gd name="adj" fmla="val 50000"/>
                </a:avLst>
              </a:prstGeom>
              <a:solidFill>
                <a:schemeClr val="dk1">
                  <a:lumMod val="50000"/>
                  <a:lumOff val="50000"/>
                </a:schemeClr>
              </a:solidFill>
              <a:ln>
                <a:solidFill>
                  <a:schemeClr val="l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同侧圆角矩形 6"/>
              <p:cNvSpPr/>
              <p:nvPr>
                <p:custDataLst>
                  <p:tags r:id="rId13"/>
                </p:custDataLst>
              </p:nvPr>
            </p:nvSpPr>
            <p:spPr>
              <a:xfrm>
                <a:off x="12234" y="6986"/>
                <a:ext cx="2766" cy="953"/>
              </a:xfrm>
              <a:prstGeom prst="round2SameRect">
                <a:avLst>
                  <a:gd name="adj1" fmla="val 50000"/>
                  <a:gd name="adj2" fmla="val 0"/>
                </a:avLst>
              </a:prstGeom>
              <a:solidFill>
                <a:schemeClr val="lt1">
                  <a:lumMod val="85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4"/>
                </p:custDataLst>
              </p:nvPr>
            </p:nvSpPr>
            <p:spPr>
              <a:xfrm>
                <a:off x="13257" y="7103"/>
                <a:ext cx="721" cy="487"/>
              </a:xfrm>
              <a:custGeom>
                <a:avLst/>
                <a:gdLst>
                  <a:gd name="connisteX0" fmla="*/ 309245 w 457835"/>
                  <a:gd name="connsiteY0" fmla="*/ 0 h 309245"/>
                  <a:gd name="connisteX1" fmla="*/ 0 w 457835"/>
                  <a:gd name="connsiteY1" fmla="*/ 148590 h 309245"/>
                  <a:gd name="connisteX2" fmla="*/ 247015 w 457835"/>
                  <a:gd name="connsiteY2" fmla="*/ 234950 h 309245"/>
                  <a:gd name="connisteX3" fmla="*/ 111125 w 457835"/>
                  <a:gd name="connsiteY3" fmla="*/ 297180 h 309245"/>
                  <a:gd name="connisteX4" fmla="*/ 259715 w 457835"/>
                  <a:gd name="connsiteY4" fmla="*/ 309245 h 309245"/>
                  <a:gd name="connisteX5" fmla="*/ 346075 w 457835"/>
                  <a:gd name="connsiteY5" fmla="*/ 161290 h 309245"/>
                  <a:gd name="connisteX6" fmla="*/ 210185 w 457835"/>
                  <a:gd name="connsiteY6" fmla="*/ 111760 h 309245"/>
                  <a:gd name="connisteX7" fmla="*/ 457835 w 457835"/>
                  <a:gd name="connsiteY7" fmla="*/ 12700 h 309245"/>
                  <a:gd name="connisteX8" fmla="*/ 309245 w 457835"/>
                  <a:gd name="connsiteY8" fmla="*/ 0 h 30924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57835" h="309245">
                    <a:moveTo>
                      <a:pt x="309245" y="0"/>
                    </a:moveTo>
                    <a:lnTo>
                      <a:pt x="0" y="148590"/>
                    </a:lnTo>
                    <a:lnTo>
                      <a:pt x="247015" y="234950"/>
                    </a:lnTo>
                    <a:lnTo>
                      <a:pt x="111125" y="297180"/>
                    </a:lnTo>
                    <a:lnTo>
                      <a:pt x="259715" y="309245"/>
                    </a:lnTo>
                    <a:lnTo>
                      <a:pt x="346075" y="161290"/>
                    </a:lnTo>
                    <a:lnTo>
                      <a:pt x="210185" y="111760"/>
                    </a:lnTo>
                    <a:lnTo>
                      <a:pt x="457835" y="12700"/>
                    </a:lnTo>
                    <a:lnTo>
                      <a:pt x="309245" y="0"/>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5"/>
                </p:custDataLst>
              </p:nvPr>
            </p:nvSpPr>
            <p:spPr>
              <a:xfrm>
                <a:off x="13589" y="7336"/>
                <a:ext cx="700" cy="603"/>
              </a:xfrm>
              <a:custGeom>
                <a:avLst/>
                <a:gdLst>
                  <a:gd name="connisteX0" fmla="*/ 0 w 272415"/>
                  <a:gd name="connsiteY0" fmla="*/ 173355 h 235585"/>
                  <a:gd name="connisteX1" fmla="*/ 198120 w 272415"/>
                  <a:gd name="connsiteY1" fmla="*/ 0 h 235585"/>
                  <a:gd name="connisteX2" fmla="*/ 272415 w 272415"/>
                  <a:gd name="connsiteY2" fmla="*/ 49530 h 235585"/>
                  <a:gd name="connisteX3" fmla="*/ 37465 w 272415"/>
                  <a:gd name="connsiteY3" fmla="*/ 235585 h 235585"/>
                  <a:gd name="connisteX4" fmla="*/ 0 w 272415"/>
                  <a:gd name="connsiteY4" fmla="*/ 173355 h 235585"/>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272415" h="235585">
                    <a:moveTo>
                      <a:pt x="0" y="173355"/>
                    </a:moveTo>
                    <a:lnTo>
                      <a:pt x="198120" y="0"/>
                    </a:lnTo>
                    <a:lnTo>
                      <a:pt x="272415" y="49530"/>
                    </a:lnTo>
                    <a:lnTo>
                      <a:pt x="37465" y="235585"/>
                    </a:lnTo>
                    <a:lnTo>
                      <a:pt x="0" y="173355"/>
                    </a:lnTo>
                    <a:close/>
                  </a:path>
                </a:pathLst>
              </a:cu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nvGrpSpPr>
              <p:cNvPr id="25" name="组合 24"/>
              <p:cNvGrpSpPr/>
              <p:nvPr/>
            </p:nvGrpSpPr>
            <p:grpSpPr>
              <a:xfrm>
                <a:off x="12572" y="7283"/>
                <a:ext cx="630" cy="761"/>
                <a:chOff x="12572" y="7259"/>
                <a:chExt cx="630" cy="761"/>
              </a:xfrm>
              <a:solidFill>
                <a:schemeClr val="bg2">
                  <a:lumMod val="25000"/>
                </a:schemeClr>
              </a:solidFill>
            </p:grpSpPr>
            <p:sp>
              <p:nvSpPr>
                <p:cNvPr id="15" name="椭圆 14"/>
                <p:cNvSpPr/>
                <p:nvPr>
                  <p:custDataLst>
                    <p:tags r:id="rId16"/>
                  </p:custDataLst>
                </p:nvPr>
              </p:nvSpPr>
              <p:spPr>
                <a:xfrm>
                  <a:off x="12633" y="7259"/>
                  <a:ext cx="507" cy="429"/>
                </a:xfrm>
                <a:prstGeom prst="ellipse">
                  <a:avLst/>
                </a:pr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17"/>
                  </p:custDataLst>
                </p:nvPr>
              </p:nvSpPr>
              <p:spPr>
                <a:xfrm>
                  <a:off x="12572" y="7687"/>
                  <a:ext cx="631" cy="232"/>
                </a:xfrm>
                <a:custGeom>
                  <a:avLst/>
                  <a:gdLst>
                    <a:gd name="connisteX0" fmla="*/ 90170 w 400685"/>
                    <a:gd name="connsiteY0" fmla="*/ 0 h 147320"/>
                    <a:gd name="connisteX1" fmla="*/ 0 w 400685"/>
                    <a:gd name="connsiteY1" fmla="*/ 78105 h 147320"/>
                    <a:gd name="connisteX2" fmla="*/ 118745 w 400685"/>
                    <a:gd name="connsiteY2" fmla="*/ 147320 h 147320"/>
                    <a:gd name="connisteX3" fmla="*/ 16510 w 400685"/>
                    <a:gd name="connsiteY3" fmla="*/ 81915 h 147320"/>
                    <a:gd name="connisteX4" fmla="*/ 139065 w 400685"/>
                    <a:gd name="connsiteY4" fmla="*/ 4445 h 147320"/>
                    <a:gd name="connisteX5" fmla="*/ 310515 w 400685"/>
                    <a:gd name="connsiteY5" fmla="*/ 8255 h 147320"/>
                    <a:gd name="connisteX6" fmla="*/ 380365 w 400685"/>
                    <a:gd name="connsiteY6" fmla="*/ 57785 h 147320"/>
                    <a:gd name="connisteX7" fmla="*/ 273685 w 400685"/>
                    <a:gd name="connsiteY7" fmla="*/ 143510 h 147320"/>
                    <a:gd name="connisteX8" fmla="*/ 400685 w 400685"/>
                    <a:gd name="connsiteY8" fmla="*/ 65405 h 147320"/>
                    <a:gd name="connisteX9" fmla="*/ 323215 w 400685"/>
                    <a:gd name="connsiteY9" fmla="*/ 0 h 147320"/>
                    <a:gd name="connisteX10" fmla="*/ 90170 w 400685"/>
                    <a:gd name="connsiteY10" fmla="*/ 0 h 14732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Lst>
                  <a:rect l="l" t="t" r="r" b="b"/>
                  <a:pathLst>
                    <a:path w="400685" h="147320">
                      <a:moveTo>
                        <a:pt x="90170" y="0"/>
                      </a:moveTo>
                      <a:lnTo>
                        <a:pt x="0" y="78105"/>
                      </a:lnTo>
                      <a:lnTo>
                        <a:pt x="118745" y="147320"/>
                      </a:lnTo>
                      <a:lnTo>
                        <a:pt x="16510" y="81915"/>
                      </a:lnTo>
                      <a:lnTo>
                        <a:pt x="139065" y="4445"/>
                      </a:lnTo>
                      <a:lnTo>
                        <a:pt x="310515" y="8255"/>
                      </a:lnTo>
                      <a:lnTo>
                        <a:pt x="380365" y="57785"/>
                      </a:lnTo>
                      <a:lnTo>
                        <a:pt x="273685" y="143510"/>
                      </a:lnTo>
                      <a:lnTo>
                        <a:pt x="400685" y="65405"/>
                      </a:lnTo>
                      <a:lnTo>
                        <a:pt x="323215" y="0"/>
                      </a:lnTo>
                      <a:lnTo>
                        <a:pt x="90170" y="0"/>
                      </a:lnTo>
                      <a:close/>
                    </a:path>
                  </a:pathLst>
                </a:custGeom>
                <a:solidFill>
                  <a:schemeClr val="l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空心弧 23"/>
                <p:cNvSpPr/>
                <p:nvPr>
                  <p:custDataLst>
                    <p:tags r:id="rId18"/>
                  </p:custDataLst>
                </p:nvPr>
              </p:nvSpPr>
              <p:spPr>
                <a:xfrm>
                  <a:off x="12759" y="7802"/>
                  <a:ext cx="257" cy="219"/>
                </a:xfrm>
                <a:prstGeom prst="blockArc">
                  <a:avLst/>
                </a:prstGeom>
                <a:solidFill>
                  <a:schemeClr val="lt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
            <p:nvSpPr>
              <p:cNvPr id="30" name="同心圆 29"/>
              <p:cNvSpPr/>
              <p:nvPr>
                <p:custDataLst>
                  <p:tags r:id="rId19"/>
                </p:custDataLst>
              </p:nvPr>
            </p:nvSpPr>
            <p:spPr>
              <a:xfrm>
                <a:off x="11886"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sp>
            <p:nvSpPr>
              <p:cNvPr id="31" name="同心圆 30"/>
              <p:cNvSpPr/>
              <p:nvPr>
                <p:custDataLst>
                  <p:tags r:id="rId20"/>
                </p:custDataLst>
              </p:nvPr>
            </p:nvSpPr>
            <p:spPr>
              <a:xfrm>
                <a:off x="14719" y="8104"/>
                <a:ext cx="630" cy="630"/>
              </a:xfrm>
              <a:prstGeom prst="donu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nvGrpSpPr>
              <p:cNvPr id="36" name="组合 35"/>
              <p:cNvGrpSpPr/>
              <p:nvPr/>
            </p:nvGrpSpPr>
            <p:grpSpPr>
              <a:xfrm>
                <a:off x="12988" y="8223"/>
                <a:ext cx="1484" cy="390"/>
                <a:chOff x="12987" y="8848"/>
                <a:chExt cx="1484" cy="390"/>
              </a:xfrm>
              <a:noFill/>
            </p:grpSpPr>
            <p:sp>
              <p:nvSpPr>
                <p:cNvPr id="32" name="圆角矩形 31"/>
                <p:cNvSpPr/>
                <p:nvPr>
                  <p:custDataLst>
                    <p:tags r:id="rId21"/>
                  </p:custDataLst>
                </p:nvPr>
              </p:nvSpPr>
              <p:spPr>
                <a:xfrm>
                  <a:off x="12987" y="8848"/>
                  <a:ext cx="148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圆角矩形 32"/>
                <p:cNvSpPr/>
                <p:nvPr>
                  <p:custDataLst>
                    <p:tags r:id="rId22"/>
                  </p:custDataLst>
                </p:nvPr>
              </p:nvSpPr>
              <p:spPr>
                <a:xfrm>
                  <a:off x="13126" y="8848"/>
                  <a:ext cx="120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4" name="圆角矩形 33"/>
                <p:cNvSpPr/>
                <p:nvPr>
                  <p:custDataLst>
                    <p:tags r:id="rId23"/>
                  </p:custDataLst>
                </p:nvPr>
              </p:nvSpPr>
              <p:spPr>
                <a:xfrm>
                  <a:off x="13351" y="8848"/>
                  <a:ext cx="757"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5" name="圆角矩形 34"/>
                <p:cNvSpPr/>
                <p:nvPr>
                  <p:custDataLst>
                    <p:tags r:id="rId24"/>
                  </p:custDataLst>
                </p:nvPr>
              </p:nvSpPr>
              <p:spPr>
                <a:xfrm>
                  <a:off x="13482" y="8848"/>
                  <a:ext cx="495" cy="390"/>
                </a:xfrm>
                <a:prstGeom prst="roundRect">
                  <a:avLst/>
                </a:prstGeom>
                <a:grp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grpSp>
          <p:nvGrpSpPr>
            <p:cNvPr id="46" name="组合 45"/>
            <p:cNvGrpSpPr/>
            <p:nvPr/>
          </p:nvGrpSpPr>
          <p:grpSpPr>
            <a:xfrm>
              <a:off x="11469" y="6584"/>
              <a:ext cx="5598" cy="2436"/>
              <a:chOff x="11469" y="6584"/>
              <a:chExt cx="5598" cy="2436"/>
            </a:xfrm>
          </p:grpSpPr>
          <p:sp>
            <p:nvSpPr>
              <p:cNvPr id="39" name="任意多边形 38"/>
              <p:cNvSpPr/>
              <p:nvPr>
                <p:custDataLst>
                  <p:tags r:id="rId25"/>
                </p:custDataLst>
              </p:nvPr>
            </p:nvSpPr>
            <p:spPr>
              <a:xfrm>
                <a:off x="12615" y="7048"/>
                <a:ext cx="4452" cy="1973"/>
              </a:xfrm>
              <a:custGeom>
                <a:avLst/>
                <a:gdLst>
                  <a:gd name="connisteX0" fmla="*/ 912528 w 2827053"/>
                  <a:gd name="connsiteY0" fmla="*/ 495300 h 1252792"/>
                  <a:gd name="connisteX1" fmla="*/ 807753 w 2827053"/>
                  <a:gd name="connsiteY1" fmla="*/ 161925 h 1252792"/>
                  <a:gd name="connisteX2" fmla="*/ 398178 w 2827053"/>
                  <a:gd name="connsiteY2" fmla="*/ 152400 h 1252792"/>
                  <a:gd name="connisteX3" fmla="*/ 55278 w 2827053"/>
                  <a:gd name="connsiteY3" fmla="*/ 381000 h 1252792"/>
                  <a:gd name="connisteX4" fmla="*/ 64803 w 2827053"/>
                  <a:gd name="connsiteY4" fmla="*/ 990600 h 1252792"/>
                  <a:gd name="connisteX5" fmla="*/ 522003 w 2827053"/>
                  <a:gd name="connsiteY5" fmla="*/ 1238250 h 1252792"/>
                  <a:gd name="connisteX6" fmla="*/ 1503078 w 2827053"/>
                  <a:gd name="connsiteY6" fmla="*/ 1104900 h 1252792"/>
                  <a:gd name="connisteX7" fmla="*/ 2093628 w 2827053"/>
                  <a:gd name="connsiteY7" fmla="*/ 361950 h 1252792"/>
                  <a:gd name="connisteX8" fmla="*/ 2827053 w 2827053"/>
                  <a:gd name="connsiteY8" fmla="*/ 0 h 1252792"/>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2827054" h="1252792">
                    <a:moveTo>
                      <a:pt x="912529" y="495300"/>
                    </a:moveTo>
                    <a:cubicBezTo>
                      <a:pt x="899829" y="428625"/>
                      <a:pt x="910624" y="230505"/>
                      <a:pt x="807754" y="161925"/>
                    </a:cubicBezTo>
                    <a:cubicBezTo>
                      <a:pt x="704884" y="93345"/>
                      <a:pt x="548674" y="108585"/>
                      <a:pt x="398179" y="152400"/>
                    </a:cubicBezTo>
                    <a:cubicBezTo>
                      <a:pt x="247684" y="196215"/>
                      <a:pt x="121954" y="213360"/>
                      <a:pt x="55279" y="381000"/>
                    </a:cubicBezTo>
                    <a:cubicBezTo>
                      <a:pt x="-11396" y="548640"/>
                      <a:pt x="-28541" y="819150"/>
                      <a:pt x="64804" y="990600"/>
                    </a:cubicBezTo>
                    <a:cubicBezTo>
                      <a:pt x="158149" y="1162050"/>
                      <a:pt x="234349" y="1215390"/>
                      <a:pt x="522004" y="1238250"/>
                    </a:cubicBezTo>
                    <a:cubicBezTo>
                      <a:pt x="809659" y="1261110"/>
                      <a:pt x="1188754" y="1280160"/>
                      <a:pt x="1503079" y="1104900"/>
                    </a:cubicBezTo>
                    <a:cubicBezTo>
                      <a:pt x="1817404" y="929640"/>
                      <a:pt x="1828834" y="582930"/>
                      <a:pt x="2093629" y="361950"/>
                    </a:cubicBezTo>
                    <a:cubicBezTo>
                      <a:pt x="2358424" y="140970"/>
                      <a:pt x="2692434" y="57785"/>
                      <a:pt x="2827054" y="0"/>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0" name="任意多边形 39"/>
              <p:cNvSpPr/>
              <p:nvPr>
                <p:custDataLst>
                  <p:tags r:id="rId26"/>
                </p:custDataLst>
              </p:nvPr>
            </p:nvSpPr>
            <p:spPr>
              <a:xfrm>
                <a:off x="13095" y="6913"/>
                <a:ext cx="1947" cy="1578"/>
              </a:xfrm>
              <a:custGeom>
                <a:avLst/>
                <a:gdLst>
                  <a:gd name="connisteX0" fmla="*/ 54990 w 1236090"/>
                  <a:gd name="connsiteY0" fmla="*/ 657225 h 1001857"/>
                  <a:gd name="connisteX1" fmla="*/ 7365 w 1236090"/>
                  <a:gd name="connsiteY1" fmla="*/ 857250 h 1001857"/>
                  <a:gd name="connisteX2" fmla="*/ 197865 w 1236090"/>
                  <a:gd name="connsiteY2" fmla="*/ 990600 h 1001857"/>
                  <a:gd name="connisteX3" fmla="*/ 493140 w 1236090"/>
                  <a:gd name="connsiteY3" fmla="*/ 962025 h 1001857"/>
                  <a:gd name="connisteX4" fmla="*/ 816990 w 1236090"/>
                  <a:gd name="connsiteY4" fmla="*/ 781050 h 1001857"/>
                  <a:gd name="connisteX5" fmla="*/ 902715 w 1236090"/>
                  <a:gd name="connsiteY5" fmla="*/ 428625 h 1001857"/>
                  <a:gd name="connisteX6" fmla="*/ 1236090 w 1236090"/>
                  <a:gd name="connsiteY6" fmla="*/ 0 h 1001857"/>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1236090" h="1001858">
                    <a:moveTo>
                      <a:pt x="54990" y="657225"/>
                    </a:moveTo>
                    <a:cubicBezTo>
                      <a:pt x="41655" y="694690"/>
                      <a:pt x="-21210" y="790575"/>
                      <a:pt x="7365" y="857250"/>
                    </a:cubicBezTo>
                    <a:cubicBezTo>
                      <a:pt x="35940" y="923925"/>
                      <a:pt x="100710" y="969645"/>
                      <a:pt x="197865" y="990600"/>
                    </a:cubicBezTo>
                    <a:cubicBezTo>
                      <a:pt x="295020" y="1011555"/>
                      <a:pt x="369315" y="1003935"/>
                      <a:pt x="493140" y="962025"/>
                    </a:cubicBezTo>
                    <a:cubicBezTo>
                      <a:pt x="616965" y="920115"/>
                      <a:pt x="735075" y="887730"/>
                      <a:pt x="816990" y="781050"/>
                    </a:cubicBezTo>
                    <a:cubicBezTo>
                      <a:pt x="898905" y="674370"/>
                      <a:pt x="818895" y="584835"/>
                      <a:pt x="902715" y="428625"/>
                    </a:cubicBezTo>
                    <a:cubicBezTo>
                      <a:pt x="986535" y="272415"/>
                      <a:pt x="1171320" y="78740"/>
                      <a:pt x="1236090" y="0"/>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27"/>
                </p:custDataLst>
              </p:nvPr>
            </p:nvSpPr>
            <p:spPr>
              <a:xfrm>
                <a:off x="14862" y="6584"/>
                <a:ext cx="1560" cy="1424"/>
              </a:xfrm>
              <a:custGeom>
                <a:avLst/>
                <a:gdLst>
                  <a:gd name="connisteX0" fmla="*/ 0 w 990600"/>
                  <a:gd name="connsiteY0" fmla="*/ 904292 h 904292"/>
                  <a:gd name="connisteX1" fmla="*/ 257175 w 990600"/>
                  <a:gd name="connsiteY1" fmla="*/ 361367 h 904292"/>
                  <a:gd name="connisteX2" fmla="*/ 476250 w 990600"/>
                  <a:gd name="connsiteY2" fmla="*/ 180392 h 904292"/>
                  <a:gd name="connisteX3" fmla="*/ 857250 w 990600"/>
                  <a:gd name="connsiteY3" fmla="*/ 8942 h 904292"/>
                  <a:gd name="connisteX4" fmla="*/ 990600 w 990600"/>
                  <a:gd name="connsiteY4" fmla="*/ 37517 h 904292"/>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990600" h="904293">
                    <a:moveTo>
                      <a:pt x="0" y="904293"/>
                    </a:moveTo>
                    <a:cubicBezTo>
                      <a:pt x="46990" y="799518"/>
                      <a:pt x="161925" y="506148"/>
                      <a:pt x="257175" y="361368"/>
                    </a:cubicBezTo>
                    <a:cubicBezTo>
                      <a:pt x="352425" y="216588"/>
                      <a:pt x="356235" y="250878"/>
                      <a:pt x="476250" y="180393"/>
                    </a:cubicBezTo>
                    <a:cubicBezTo>
                      <a:pt x="596265" y="109908"/>
                      <a:pt x="754380" y="37518"/>
                      <a:pt x="857250" y="8943"/>
                    </a:cubicBezTo>
                    <a:cubicBezTo>
                      <a:pt x="960120" y="-19632"/>
                      <a:pt x="971550" y="28628"/>
                      <a:pt x="990600" y="37518"/>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5" name="任意多边形 44"/>
              <p:cNvSpPr/>
              <p:nvPr>
                <p:custDataLst>
                  <p:tags r:id="rId28"/>
                </p:custDataLst>
              </p:nvPr>
            </p:nvSpPr>
            <p:spPr>
              <a:xfrm>
                <a:off x="11469" y="6610"/>
                <a:ext cx="2343" cy="2253"/>
              </a:xfrm>
              <a:custGeom>
                <a:avLst/>
                <a:gdLst>
                  <a:gd name="connisteX0" fmla="*/ 1487821 w 1487821"/>
                  <a:gd name="connsiteY0" fmla="*/ 144793 h 1430668"/>
                  <a:gd name="connisteX1" fmla="*/ 697246 w 1487821"/>
                  <a:gd name="connsiteY1" fmla="*/ 1918 h 1430668"/>
                  <a:gd name="connisteX2" fmla="*/ 201946 w 1487821"/>
                  <a:gd name="connsiteY2" fmla="*/ 240043 h 1430668"/>
                  <a:gd name="connisteX3" fmla="*/ 1921 w 1487821"/>
                  <a:gd name="connsiteY3" fmla="*/ 973468 h 1430668"/>
                  <a:gd name="connisteX4" fmla="*/ 278146 w 1487821"/>
                  <a:gd name="connsiteY4" fmla="*/ 1430668 h 1430668"/>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487822" h="1430669">
                    <a:moveTo>
                      <a:pt x="1487822" y="144794"/>
                    </a:moveTo>
                    <a:cubicBezTo>
                      <a:pt x="1339867" y="111139"/>
                      <a:pt x="954422" y="-17131"/>
                      <a:pt x="697247" y="1919"/>
                    </a:cubicBezTo>
                    <a:cubicBezTo>
                      <a:pt x="440072" y="20969"/>
                      <a:pt x="341012" y="45734"/>
                      <a:pt x="201947" y="240044"/>
                    </a:cubicBezTo>
                    <a:cubicBezTo>
                      <a:pt x="62882" y="434354"/>
                      <a:pt x="-13318" y="735344"/>
                      <a:pt x="1922" y="973469"/>
                    </a:cubicBezTo>
                    <a:cubicBezTo>
                      <a:pt x="17162" y="1211594"/>
                      <a:pt x="219092" y="1353834"/>
                      <a:pt x="278147" y="1430669"/>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8" name="禁止符 37"/>
            <p:cNvSpPr/>
            <p:nvPr>
              <p:custDataLst>
                <p:tags r:id="rId29"/>
              </p:custDataLst>
            </p:nvPr>
          </p:nvSpPr>
          <p:spPr>
            <a:xfrm>
              <a:off x="11952" y="6298"/>
              <a:ext cx="3225" cy="3195"/>
            </a:xfrm>
            <a:prstGeom prst="noSmoking">
              <a:avLst>
                <a:gd name="adj" fmla="val 4641"/>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grpSp>
        <p:nvGrpSpPr>
          <p:cNvPr id="88" name="组合 87"/>
          <p:cNvGrpSpPr/>
          <p:nvPr/>
        </p:nvGrpSpPr>
        <p:grpSpPr>
          <a:xfrm>
            <a:off x="607060" y="1111885"/>
            <a:ext cx="3587750" cy="511175"/>
            <a:chOff x="956" y="1751"/>
            <a:chExt cx="5650" cy="805"/>
          </a:xfrm>
        </p:grpSpPr>
        <p:grpSp>
          <p:nvGrpSpPr>
            <p:cNvPr id="85" name="组合 84"/>
            <p:cNvGrpSpPr/>
            <p:nvPr/>
          </p:nvGrpSpPr>
          <p:grpSpPr>
            <a:xfrm>
              <a:off x="956" y="1751"/>
              <a:ext cx="5650" cy="805"/>
              <a:chOff x="2184" y="8192"/>
              <a:chExt cx="6902" cy="1134"/>
            </a:xfrm>
          </p:grpSpPr>
          <p:sp>
            <p:nvSpPr>
              <p:cNvPr id="86" name="六边形 85"/>
              <p:cNvSpPr/>
              <p:nvPr>
                <p:custDataLst>
                  <p:tags r:id="rId30"/>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31"/>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48" name="文本框 47"/>
            <p:cNvSpPr txBox="1"/>
            <p:nvPr>
              <p:custDataLst>
                <p:tags r:id="rId32"/>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台风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spTree>
    <p:custDataLst>
      <p:tags r:id="rId33"/>
    </p:custData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组合 28"/>
          <p:cNvGrpSpPr/>
          <p:nvPr/>
        </p:nvGrpSpPr>
        <p:grpSpPr>
          <a:xfrm>
            <a:off x="498475" y="1050290"/>
            <a:ext cx="4369435" cy="720090"/>
            <a:chOff x="2115" y="4833"/>
            <a:chExt cx="6881" cy="1134"/>
          </a:xfrm>
          <a:solidFill>
            <a:srgbClr val="00B0F0"/>
          </a:solidFill>
        </p:grpSpPr>
        <p:sp>
          <p:nvSpPr>
            <p:cNvPr id="17" name="平行四边形 16"/>
            <p:cNvSpPr/>
            <p:nvPr>
              <p:custDataLst>
                <p:tags r:id="rId1"/>
              </p:custDataLst>
            </p:nvPr>
          </p:nvSpPr>
          <p:spPr>
            <a:xfrm>
              <a:off x="2115" y="4833"/>
              <a:ext cx="5669" cy="1134"/>
            </a:xfrm>
            <a:prstGeom prst="parallelogram">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8" name="平行四边形 17"/>
            <p:cNvSpPr/>
            <p:nvPr>
              <p:custDataLst>
                <p:tags r:id="rId2"/>
              </p:custDataLst>
            </p:nvPr>
          </p:nvSpPr>
          <p:spPr>
            <a:xfrm>
              <a:off x="7645"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9" name="平行四边形 18"/>
            <p:cNvSpPr/>
            <p:nvPr>
              <p:custDataLst>
                <p:tags r:id="rId3"/>
              </p:custDataLst>
            </p:nvPr>
          </p:nvSpPr>
          <p:spPr>
            <a:xfrm>
              <a:off x="7948"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0" name="平行四边形 19"/>
            <p:cNvSpPr/>
            <p:nvPr>
              <p:custDataLst>
                <p:tags r:id="rId4"/>
              </p:custDataLst>
            </p:nvPr>
          </p:nvSpPr>
          <p:spPr>
            <a:xfrm>
              <a:off x="8251"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1" name="平行四边形 20"/>
            <p:cNvSpPr/>
            <p:nvPr>
              <p:custDataLst>
                <p:tags r:id="rId5"/>
              </p:custDataLst>
            </p:nvPr>
          </p:nvSpPr>
          <p:spPr>
            <a:xfrm>
              <a:off x="8554" y="4833"/>
              <a:ext cx="442" cy="1134"/>
            </a:xfrm>
            <a:prstGeom prst="parallelogram">
              <a:avLst>
                <a:gd name="adj" fmla="val 69627"/>
              </a:avLst>
            </a:prstGeom>
            <a:grp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6"/>
            </p:custDataLst>
          </p:nvPr>
        </p:nvSpPr>
        <p:spPr>
          <a:xfrm>
            <a:off x="704850" y="1109345"/>
            <a:ext cx="2948940" cy="645160"/>
          </a:xfrm>
          <a:prstGeom prst="rect">
            <a:avLst/>
          </a:prstGeom>
          <a:noFill/>
        </p:spPr>
        <p:txBody>
          <a:bodyPr wrap="square" rtlCol="0">
            <a:spAutoFit/>
          </a:bodyPr>
          <a:lstStyle/>
          <a:p>
            <a:r>
              <a:rPr lang="zh-CN" altLang="en-US" sz="3600" b="1">
                <a:solidFill>
                  <a:schemeClr val="lt1"/>
                </a:solidFill>
                <a:sym typeface="+mn-ea"/>
              </a:rPr>
              <a:t>洪涝</a:t>
            </a:r>
            <a:endParaRPr lang="zh-CN" altLang="en-US" sz="3600" b="1">
              <a:solidFill>
                <a:schemeClr val="lt1"/>
              </a:solidFill>
              <a:effectLst>
                <a:outerShdw blurRad="38100" dist="38100" dir="2700000" algn="tl">
                  <a:srgbClr val="000000">
                    <a:alpha val="43137"/>
                  </a:srgbClr>
                </a:outerShdw>
              </a:effectLst>
              <a:sym typeface="+mn-ea"/>
            </a:endParaRPr>
          </a:p>
        </p:txBody>
      </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7"/>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8"/>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9"/>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10"/>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11"/>
            </p:custDataLst>
          </p:nvPr>
        </p:nvSpPr>
        <p:spPr>
          <a:xfrm>
            <a:off x="704850" y="1770380"/>
            <a:ext cx="7547610" cy="3784600"/>
          </a:xfrm>
          <a:prstGeom prst="rect">
            <a:avLst/>
          </a:prstGeom>
          <a:noFill/>
        </p:spPr>
        <p:txBody>
          <a:bodyPr wrap="square" rtlCol="0">
            <a:spAutoFit/>
          </a:bodyPr>
          <a:lstStyle/>
          <a:p>
            <a:pPr>
              <a:lnSpc>
                <a:spcPct val="150000"/>
              </a:lnSpc>
            </a:pPr>
            <a:r>
              <a:rPr sz="2000" dirty="0" err="1">
                <a:solidFill>
                  <a:schemeClr val="dk1"/>
                </a:solidFill>
              </a:rPr>
              <a:t>洪水突来如何应对</a:t>
            </a:r>
            <a:r>
              <a:rPr sz="2000" dirty="0">
                <a:solidFill>
                  <a:schemeClr val="dk1"/>
                </a:solidFill>
              </a:rPr>
              <a:t>——</a:t>
            </a:r>
            <a:r>
              <a:rPr sz="2000" dirty="0" err="1">
                <a:solidFill>
                  <a:schemeClr val="dk1"/>
                </a:solidFill>
              </a:rPr>
              <a:t>冷静观察迅速转移</a:t>
            </a:r>
            <a:endParaRPr sz="2000" dirty="0">
              <a:solidFill>
                <a:schemeClr val="dk1"/>
              </a:solidFill>
            </a:endParaRPr>
          </a:p>
          <a:p>
            <a:pPr>
              <a:lnSpc>
                <a:spcPct val="150000"/>
              </a:lnSpc>
            </a:pPr>
            <a:r>
              <a:rPr sz="2000" dirty="0" err="1">
                <a:solidFill>
                  <a:schemeClr val="dk1"/>
                </a:solidFill>
              </a:rPr>
              <a:t>洪涝灾害的防治工作包括两个方面：一方面减少洪涝灾害发生的可能性，另一方面尽可能使已发生的洪涝灾害的损失降到最低。加强堤防建设、河道整治以及水库工程建设是避免洪涝灾害的直接措施，长期持久地推行水土保持可以从根本上减少发生洪涝的机会。切实做好洪水、天气的科学预报与滞洪区的合理规划可以减轻涝灾害的损失。建立防汛抢险的应急体系，是减轻灾害损失的最后措施</a:t>
            </a:r>
            <a:r>
              <a:rPr sz="2000" dirty="0">
                <a:solidFill>
                  <a:schemeClr val="dk1"/>
                </a:solidFill>
              </a:rPr>
              <a:t>。</a:t>
            </a:r>
            <a:endParaRPr sz="2000" dirty="0">
              <a:solidFill>
                <a:schemeClr val="dk1"/>
              </a:solidFill>
            </a:endParaRPr>
          </a:p>
        </p:txBody>
      </p:sp>
      <p:grpSp>
        <p:nvGrpSpPr>
          <p:cNvPr id="67" name="组合 66"/>
          <p:cNvGrpSpPr/>
          <p:nvPr/>
        </p:nvGrpSpPr>
        <p:grpSpPr>
          <a:xfrm>
            <a:off x="8053070" y="754380"/>
            <a:ext cx="3868420" cy="4800600"/>
            <a:chOff x="12661" y="1209"/>
            <a:chExt cx="6092" cy="7560"/>
          </a:xfrm>
        </p:grpSpPr>
        <p:sp>
          <p:nvSpPr>
            <p:cNvPr id="16" name="任意多边形 15"/>
            <p:cNvSpPr/>
            <p:nvPr>
              <p:custDataLst>
                <p:tags r:id="rId12"/>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3" name="任意多边形 22"/>
            <p:cNvSpPr/>
            <p:nvPr>
              <p:custDataLst>
                <p:tags r:id="rId13"/>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8" name="任意多边形 47"/>
            <p:cNvSpPr/>
            <p:nvPr>
              <p:custDataLst>
                <p:tags r:id="rId14"/>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9" name="任意多边形 48"/>
            <p:cNvSpPr/>
            <p:nvPr>
              <p:custDataLst>
                <p:tags r:id="rId15"/>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0" name="任意多边形 49"/>
            <p:cNvSpPr/>
            <p:nvPr>
              <p:custDataLst>
                <p:tags r:id="rId16"/>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1" name="任意多边形 50"/>
            <p:cNvSpPr/>
            <p:nvPr>
              <p:custDataLst>
                <p:tags r:id="rId17"/>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2" name="任意多边形 51"/>
            <p:cNvSpPr/>
            <p:nvPr>
              <p:custDataLst>
                <p:tags r:id="rId18"/>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3" name="任意多边形 52"/>
            <p:cNvSpPr/>
            <p:nvPr>
              <p:custDataLst>
                <p:tags r:id="rId19"/>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4" name="任意多边形 53"/>
            <p:cNvSpPr/>
            <p:nvPr>
              <p:custDataLst>
                <p:tags r:id="rId20"/>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5" name="任意多边形 54"/>
            <p:cNvSpPr/>
            <p:nvPr>
              <p:custDataLst>
                <p:tags r:id="rId21"/>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6" name="任意多边形 55"/>
            <p:cNvSpPr/>
            <p:nvPr>
              <p:custDataLst>
                <p:tags r:id="rId22"/>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7" name="任意多边形 56"/>
            <p:cNvSpPr/>
            <p:nvPr>
              <p:custDataLst>
                <p:tags r:id="rId23"/>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8" name="任意多边形 57"/>
            <p:cNvSpPr/>
            <p:nvPr>
              <p:custDataLst>
                <p:tags r:id="rId24"/>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59" name="任意多边形 58"/>
            <p:cNvSpPr/>
            <p:nvPr>
              <p:custDataLst>
                <p:tags r:id="rId25"/>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0" name="任意多边形 59"/>
            <p:cNvSpPr/>
            <p:nvPr>
              <p:custDataLst>
                <p:tags r:id="rId26"/>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1" name="任意多边形 60"/>
            <p:cNvSpPr/>
            <p:nvPr>
              <p:custDataLst>
                <p:tags r:id="rId27"/>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2" name="任意多边形 61"/>
            <p:cNvSpPr/>
            <p:nvPr>
              <p:custDataLst>
                <p:tags r:id="rId28"/>
              </p:custDataLst>
            </p:nvPr>
          </p:nvSpPr>
          <p:spPr>
            <a:xfrm>
              <a:off x="12996" y="1209"/>
              <a:ext cx="5495" cy="2622"/>
            </a:xfrm>
            <a:custGeom>
              <a:avLst/>
              <a:gdLst>
                <a:gd name="connisteX0" fmla="*/ 0 w 3489511"/>
                <a:gd name="connsiteY0" fmla="*/ 1281588 h 1665128"/>
                <a:gd name="connisteX1" fmla="*/ 714375 w 3489511"/>
                <a:gd name="connsiteY1" fmla="*/ 818673 h 1665128"/>
                <a:gd name="connisteX2" fmla="*/ 1137285 w 3489511"/>
                <a:gd name="connsiteY2" fmla="*/ 1004093 h 1665128"/>
                <a:gd name="connisteX3" fmla="*/ 1587500 w 3489511"/>
                <a:gd name="connsiteY3" fmla="*/ 527843 h 1665128"/>
                <a:gd name="connisteX4" fmla="*/ 1838960 w 3489511"/>
                <a:gd name="connsiteY4" fmla="*/ 845343 h 1665128"/>
                <a:gd name="connisteX5" fmla="*/ 2063750 w 3489511"/>
                <a:gd name="connsiteY5" fmla="*/ 1056798 h 1665128"/>
                <a:gd name="connisteX6" fmla="*/ 2261870 w 3489511"/>
                <a:gd name="connsiteY6" fmla="*/ 937418 h 1665128"/>
                <a:gd name="connisteX7" fmla="*/ 2632710 w 3489511"/>
                <a:gd name="connsiteY7" fmla="*/ 24923 h 1665128"/>
                <a:gd name="connisteX8" fmla="*/ 2896870 w 3489511"/>
                <a:gd name="connsiteY8" fmla="*/ 302418 h 1665128"/>
                <a:gd name="connisteX9" fmla="*/ 3068955 w 3489511"/>
                <a:gd name="connsiteY9" fmla="*/ 51593 h 1665128"/>
                <a:gd name="connisteX10" fmla="*/ 3214370 w 3489511"/>
                <a:gd name="connsiteY10" fmla="*/ 871378 h 1665128"/>
                <a:gd name="connisteX11" fmla="*/ 3479165 w 3489511"/>
                <a:gd name="connsiteY11" fmla="*/ 1506378 h 1665128"/>
                <a:gd name="connisteX12" fmla="*/ 3413125 w 3489511"/>
                <a:gd name="connsiteY12" fmla="*/ 1665128 h 1665128"/>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3489511" h="1665129">
                  <a:moveTo>
                    <a:pt x="0" y="1281589"/>
                  </a:moveTo>
                  <a:cubicBezTo>
                    <a:pt x="134620" y="1185069"/>
                    <a:pt x="487045" y="873919"/>
                    <a:pt x="714375" y="818674"/>
                  </a:cubicBezTo>
                  <a:cubicBezTo>
                    <a:pt x="941705" y="763429"/>
                    <a:pt x="962660" y="1062514"/>
                    <a:pt x="1137285" y="1004094"/>
                  </a:cubicBezTo>
                  <a:cubicBezTo>
                    <a:pt x="1311910" y="945674"/>
                    <a:pt x="1447165" y="559594"/>
                    <a:pt x="1587500" y="527844"/>
                  </a:cubicBezTo>
                  <a:cubicBezTo>
                    <a:pt x="1727835" y="496094"/>
                    <a:pt x="1743710" y="739299"/>
                    <a:pt x="1838960" y="845344"/>
                  </a:cubicBezTo>
                  <a:cubicBezTo>
                    <a:pt x="1934210" y="951389"/>
                    <a:pt x="1979295" y="1038384"/>
                    <a:pt x="2063750" y="1056799"/>
                  </a:cubicBezTo>
                  <a:cubicBezTo>
                    <a:pt x="2148205" y="1075214"/>
                    <a:pt x="2148205" y="1143794"/>
                    <a:pt x="2261870" y="937419"/>
                  </a:cubicBezTo>
                  <a:cubicBezTo>
                    <a:pt x="2375535" y="731044"/>
                    <a:pt x="2505710" y="151924"/>
                    <a:pt x="2632710" y="24924"/>
                  </a:cubicBezTo>
                  <a:cubicBezTo>
                    <a:pt x="2759710" y="-102076"/>
                    <a:pt x="2809875" y="297339"/>
                    <a:pt x="2896870" y="302419"/>
                  </a:cubicBezTo>
                  <a:cubicBezTo>
                    <a:pt x="2983865" y="307499"/>
                    <a:pt x="3005455" y="-62071"/>
                    <a:pt x="3068955" y="51594"/>
                  </a:cubicBezTo>
                  <a:cubicBezTo>
                    <a:pt x="3132455" y="165259"/>
                    <a:pt x="3132455" y="580549"/>
                    <a:pt x="3214370" y="871379"/>
                  </a:cubicBezTo>
                  <a:cubicBezTo>
                    <a:pt x="3296285" y="1162209"/>
                    <a:pt x="3439160" y="1347629"/>
                    <a:pt x="3479165" y="1506379"/>
                  </a:cubicBezTo>
                  <a:cubicBezTo>
                    <a:pt x="3519170" y="1665129"/>
                    <a:pt x="3431540" y="1646079"/>
                    <a:pt x="3413125" y="1665129"/>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3" name="任意多边形 62"/>
            <p:cNvSpPr/>
            <p:nvPr>
              <p:custDataLst>
                <p:tags r:id="rId29"/>
              </p:custDataLst>
            </p:nvPr>
          </p:nvSpPr>
          <p:spPr>
            <a:xfrm>
              <a:off x="16707" y="4204"/>
              <a:ext cx="2047" cy="1925"/>
            </a:xfrm>
            <a:custGeom>
              <a:avLst/>
              <a:gdLst>
                <a:gd name="connisteX0" fmla="*/ 0 w 1299711"/>
                <a:gd name="connsiteY0" fmla="*/ 997 h 1222528"/>
                <a:gd name="connisteX1" fmla="*/ 1177290 w 1299711"/>
                <a:gd name="connsiteY1" fmla="*/ 120377 h 1222528"/>
                <a:gd name="connisteX2" fmla="*/ 1217295 w 1299711"/>
                <a:gd name="connsiteY2" fmla="*/ 821417 h 1222528"/>
                <a:gd name="connisteX3" fmla="*/ 1124585 w 1299711"/>
                <a:gd name="connsiteY3" fmla="*/ 1191622 h 1222528"/>
                <a:gd name="connisteX4" fmla="*/ 462915 w 1299711"/>
                <a:gd name="connsiteY4" fmla="*/ 1178922 h 1222528"/>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299712" h="1222528">
                  <a:moveTo>
                    <a:pt x="0" y="997"/>
                  </a:moveTo>
                  <a:cubicBezTo>
                    <a:pt x="234950" y="11157"/>
                    <a:pt x="934085" y="-43453"/>
                    <a:pt x="1177290" y="120377"/>
                  </a:cubicBezTo>
                  <a:cubicBezTo>
                    <a:pt x="1420495" y="284207"/>
                    <a:pt x="1228090" y="607422"/>
                    <a:pt x="1217295" y="821417"/>
                  </a:cubicBezTo>
                  <a:cubicBezTo>
                    <a:pt x="1206500" y="1035412"/>
                    <a:pt x="1275715" y="1119867"/>
                    <a:pt x="1124585" y="1191622"/>
                  </a:cubicBezTo>
                  <a:cubicBezTo>
                    <a:pt x="973455" y="1263377"/>
                    <a:pt x="593090" y="1189082"/>
                    <a:pt x="462915" y="1178922"/>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4" name="任意多边形 63"/>
            <p:cNvSpPr/>
            <p:nvPr>
              <p:custDataLst>
                <p:tags r:id="rId30"/>
              </p:custDataLst>
            </p:nvPr>
          </p:nvSpPr>
          <p:spPr>
            <a:xfrm>
              <a:off x="16525" y="6342"/>
              <a:ext cx="2088" cy="2036"/>
            </a:xfrm>
            <a:custGeom>
              <a:avLst/>
              <a:gdLst>
                <a:gd name="connisteX0" fmla="*/ 529590 w 1325608"/>
                <a:gd name="connsiteY0" fmla="*/ 6191 h 1292664"/>
                <a:gd name="connisteX1" fmla="*/ 1111250 w 1325608"/>
                <a:gd name="connsiteY1" fmla="*/ 32861 h 1292664"/>
                <a:gd name="connisteX2" fmla="*/ 1323340 w 1325608"/>
                <a:gd name="connsiteY2" fmla="*/ 270986 h 1292664"/>
                <a:gd name="connisteX3" fmla="*/ 1177925 w 1325608"/>
                <a:gd name="connsiteY3" fmla="*/ 1130776 h 1292664"/>
                <a:gd name="connisteX4" fmla="*/ 754380 w 1325608"/>
                <a:gd name="connsiteY4" fmla="*/ 1289526 h 1292664"/>
                <a:gd name="connisteX5" fmla="*/ 0 w 1325608"/>
                <a:gd name="connsiteY5" fmla="*/ 1223486 h 1292664"/>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1325608" h="1292664">
                  <a:moveTo>
                    <a:pt x="529590" y="6191"/>
                  </a:moveTo>
                  <a:cubicBezTo>
                    <a:pt x="641985" y="6826"/>
                    <a:pt x="952500" y="-19844"/>
                    <a:pt x="1111250" y="32861"/>
                  </a:cubicBezTo>
                  <a:cubicBezTo>
                    <a:pt x="1270000" y="85566"/>
                    <a:pt x="1310005" y="51276"/>
                    <a:pt x="1323340" y="270986"/>
                  </a:cubicBezTo>
                  <a:cubicBezTo>
                    <a:pt x="1336675" y="490696"/>
                    <a:pt x="1291590" y="926941"/>
                    <a:pt x="1177925" y="1130776"/>
                  </a:cubicBezTo>
                  <a:cubicBezTo>
                    <a:pt x="1064260" y="1334611"/>
                    <a:pt x="989965" y="1271111"/>
                    <a:pt x="754380" y="1289526"/>
                  </a:cubicBezTo>
                  <a:cubicBezTo>
                    <a:pt x="518795" y="1307941"/>
                    <a:pt x="142240" y="1239996"/>
                    <a:pt x="0" y="1223486"/>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Tree>
    <p:custDataLst>
      <p:tags r:id="rId31"/>
    </p:custDataLst>
  </p:cSld>
  <p:clrMapOvr>
    <a:masterClrMapping/>
  </p:clrMapOvr>
  <p:transition spd="slow">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 name="组合 87"/>
          <p:cNvGrpSpPr/>
          <p:nvPr/>
        </p:nvGrpSpPr>
        <p:grpSpPr>
          <a:xfrm>
            <a:off x="607060" y="1111885"/>
            <a:ext cx="3587750" cy="510540"/>
            <a:chOff x="956" y="1751"/>
            <a:chExt cx="5650" cy="804"/>
          </a:xfrm>
        </p:grpSpPr>
        <p:grpSp>
          <p:nvGrpSpPr>
            <p:cNvPr id="85" name="组合 84"/>
            <p:cNvGrpSpPr/>
            <p:nvPr/>
          </p:nvGrpSpPr>
          <p:grpSpPr>
            <a:xfrm>
              <a:off x="956" y="1751"/>
              <a:ext cx="5650" cy="805"/>
              <a:chOff x="2184" y="8192"/>
              <a:chExt cx="6902" cy="1134"/>
            </a:xfrm>
          </p:grpSpPr>
          <p:sp>
            <p:nvSpPr>
              <p:cNvPr id="86" name="六边形 85"/>
              <p:cNvSpPr/>
              <p:nvPr>
                <p:custDataLst>
                  <p:tags r:id="rId1"/>
                </p:custDataLst>
              </p:nvPr>
            </p:nvSpPr>
            <p:spPr>
              <a:xfrm>
                <a:off x="2184" y="8192"/>
                <a:ext cx="6462" cy="1134"/>
              </a:xfrm>
              <a:prstGeom prst="hexagon">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7" name="燕尾形 86"/>
              <p:cNvSpPr/>
              <p:nvPr>
                <p:custDataLst>
                  <p:tags r:id="rId2"/>
                </p:custDataLst>
              </p:nvPr>
            </p:nvSpPr>
            <p:spPr>
              <a:xfrm>
                <a:off x="8462" y="8192"/>
                <a:ext cx="625" cy="1134"/>
              </a:xfrm>
              <a:prstGeom prst="chevron">
                <a:avLst>
                  <a:gd name="adj" fmla="val 44640"/>
                </a:avLst>
              </a:prstGeom>
              <a:solidFill>
                <a:srgbClr val="FFC00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2" name="文本框 1"/>
            <p:cNvSpPr txBox="1"/>
            <p:nvPr>
              <p:custDataLst>
                <p:tags r:id="rId3"/>
              </p:custDataLst>
            </p:nvPr>
          </p:nvSpPr>
          <p:spPr>
            <a:xfrm>
              <a:off x="1110" y="1787"/>
              <a:ext cx="5135" cy="725"/>
            </a:xfrm>
            <a:prstGeom prst="rect">
              <a:avLst/>
            </a:prstGeom>
            <a:noFill/>
          </p:spPr>
          <p:txBody>
            <a:bodyPr wrap="square" rtlCol="0">
              <a:spAutoFit/>
            </a:bodyPr>
            <a:lstStyle/>
            <a:p>
              <a:r>
                <a:rPr lang="zh-CN" altLang="en-US" sz="2400" b="1">
                  <a:solidFill>
                    <a:schemeClr val="dk1">
                      <a:lumMod val="85000"/>
                      <a:lumOff val="15000"/>
                    </a:schemeClr>
                  </a:solidFill>
                  <a:sym typeface="+mn-ea"/>
                </a:rPr>
                <a:t>洪涝求生与注意事项</a:t>
              </a:r>
              <a:endParaRPr lang="zh-CN" altLang="en-US" sz="2400" b="1">
                <a:solidFill>
                  <a:schemeClr val="dk1">
                    <a:lumMod val="85000"/>
                    <a:lumOff val="15000"/>
                  </a:schemeClr>
                </a:solidFill>
                <a:effectLst>
                  <a:outerShdw blurRad="38100" dist="38100" dir="2700000" algn="tl">
                    <a:srgbClr val="000000">
                      <a:alpha val="43137"/>
                    </a:srgbClr>
                  </a:outerShdw>
                </a:effectLst>
                <a:sym typeface="+mn-ea"/>
              </a:endParaRPr>
            </a:p>
          </p:txBody>
        </p:sp>
      </p:grpSp>
      <p:grpSp>
        <p:nvGrpSpPr>
          <p:cNvPr id="66" name="组合 65"/>
          <p:cNvGrpSpPr/>
          <p:nvPr/>
        </p:nvGrpSpPr>
        <p:grpSpPr>
          <a:xfrm>
            <a:off x="-3175" y="247015"/>
            <a:ext cx="3211830" cy="622300"/>
            <a:chOff x="-5" y="389"/>
            <a:chExt cx="5058" cy="980"/>
          </a:xfrm>
        </p:grpSpPr>
        <p:grpSp>
          <p:nvGrpSpPr>
            <p:cNvPr id="9" name="组合 8"/>
            <p:cNvGrpSpPr/>
            <p:nvPr/>
          </p:nvGrpSpPr>
          <p:grpSpPr>
            <a:xfrm>
              <a:off x="-5" y="389"/>
              <a:ext cx="5058" cy="981"/>
              <a:chOff x="2115" y="6645"/>
              <a:chExt cx="7055" cy="1134"/>
            </a:xfrm>
            <a:effectLst>
              <a:outerShdw blurRad="76200" dir="18900000" sy="23000" kx="-1200000" algn="bl" rotWithShape="0">
                <a:prstClr val="black">
                  <a:alpha val="20000"/>
                </a:prstClr>
              </a:outerShdw>
            </a:effectLst>
          </p:grpSpPr>
          <p:sp>
            <p:nvSpPr>
              <p:cNvPr id="10" name="五边形 9"/>
              <p:cNvSpPr/>
              <p:nvPr>
                <p:custDataLst>
                  <p:tags r:id="rId4"/>
                </p:custDataLst>
              </p:nvPr>
            </p:nvSpPr>
            <p:spPr>
              <a:xfrm>
                <a:off x="2115" y="6645"/>
                <a:ext cx="5669" cy="1134"/>
              </a:xfrm>
              <a:prstGeom prst="homePlate">
                <a:avLst>
                  <a:gd name="adj" fmla="val 5148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1" name="燕尾形 10"/>
              <p:cNvSpPr/>
              <p:nvPr>
                <p:custDataLst>
                  <p:tags r:id="rId5"/>
                </p:custDataLst>
              </p:nvPr>
            </p:nvSpPr>
            <p:spPr>
              <a:xfrm>
                <a:off x="7280"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2" name="燕尾形 11"/>
              <p:cNvSpPr/>
              <p:nvPr>
                <p:custDataLst>
                  <p:tags r:id="rId6"/>
                </p:custDataLst>
              </p:nvPr>
            </p:nvSpPr>
            <p:spPr>
              <a:xfrm>
                <a:off x="7742"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3" name="燕尾形 12"/>
              <p:cNvSpPr/>
              <p:nvPr>
                <p:custDataLst>
                  <p:tags r:id="rId7"/>
                </p:custDataLst>
              </p:nvPr>
            </p:nvSpPr>
            <p:spPr>
              <a:xfrm>
                <a:off x="8204" y="6645"/>
                <a:ext cx="966" cy="1134"/>
              </a:xfrm>
              <a:prstGeom prst="chevron">
                <a:avLst>
                  <a:gd name="adj" fmla="val 6552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65" name="文本框 64"/>
            <p:cNvSpPr txBox="1"/>
            <p:nvPr/>
          </p:nvSpPr>
          <p:spPr>
            <a:xfrm>
              <a:off x="295" y="566"/>
              <a:ext cx="3257" cy="628"/>
            </a:xfrm>
            <a:prstGeom prst="rect">
              <a:avLst/>
            </a:prstGeom>
            <a:noFill/>
          </p:spPr>
          <p:txBody>
            <a:bodyPr wrap="square" rtlCol="0">
              <a:spAutoFit/>
            </a:bodyPr>
            <a:lstStyle/>
            <a:p>
              <a:pPr algn="dist"/>
              <a:r>
                <a:rPr lang="zh-CN" altLang="en-US" sz="2000" b="1">
                  <a:solidFill>
                    <a:schemeClr val="dk1">
                      <a:lumMod val="85000"/>
                      <a:lumOff val="15000"/>
                    </a:schemeClr>
                  </a:solidFill>
                  <a:effectLst>
                    <a:outerShdw blurRad="38100" dist="38100" dir="2700000" algn="tl">
                      <a:srgbClr val="000000">
                        <a:alpha val="43137"/>
                      </a:srgbClr>
                    </a:outerShdw>
                  </a:effectLst>
                  <a:sym typeface="+mn-ea"/>
                </a:rPr>
                <a:t>安全逃生指南</a:t>
              </a:r>
              <a:endParaRPr lang="zh-CN" altLang="en-US" sz="2000" b="1">
                <a:solidFill>
                  <a:schemeClr val="dk1">
                    <a:lumMod val="85000"/>
                    <a:lumOff val="15000"/>
                  </a:schemeClr>
                </a:solidFill>
                <a:effectLst>
                  <a:outerShdw blurRad="38100" dist="38100" dir="2700000" algn="tl">
                    <a:srgbClr val="000000">
                      <a:alpha val="43137"/>
                    </a:srgbClr>
                  </a:outerShdw>
                </a:effectLst>
                <a:sym typeface="+mn-ea"/>
              </a:endParaRPr>
            </a:p>
          </p:txBody>
        </p:sp>
      </p:grpSp>
      <p:sp>
        <p:nvSpPr>
          <p:cNvPr id="4" name="文本框 3"/>
          <p:cNvSpPr txBox="1"/>
          <p:nvPr>
            <p:custDataLst>
              <p:tags r:id="rId8"/>
            </p:custDataLst>
          </p:nvPr>
        </p:nvSpPr>
        <p:spPr>
          <a:xfrm>
            <a:off x="704850" y="1770380"/>
            <a:ext cx="6184900" cy="4246245"/>
          </a:xfrm>
          <a:prstGeom prst="rect">
            <a:avLst/>
          </a:prstGeom>
          <a:noFill/>
        </p:spPr>
        <p:txBody>
          <a:bodyPr wrap="square" rtlCol="0">
            <a:spAutoFit/>
          </a:bodyPr>
          <a:lstStyle/>
          <a:p>
            <a:pPr>
              <a:lnSpc>
                <a:spcPct val="150000"/>
              </a:lnSpc>
            </a:pPr>
            <a:r>
              <a:rPr sz="2000">
                <a:solidFill>
                  <a:schemeClr val="dk1"/>
                </a:solidFill>
              </a:rPr>
              <a:t>（1）受到洪水威胁，如果时间充裕，应按照预定路线，有组织地向山坡、高地等处转移；在措手不及，已经受到洪水包围的情况下，要尽可能利用船只、木排、门板、木床等，做水上转移。</a:t>
            </a:r>
            <a:endParaRPr sz="2000">
              <a:solidFill>
                <a:schemeClr val="dk1"/>
              </a:solidFill>
            </a:endParaRPr>
          </a:p>
          <a:p>
            <a:pPr>
              <a:lnSpc>
                <a:spcPct val="150000"/>
              </a:lnSpc>
            </a:pPr>
            <a:endParaRPr sz="2000">
              <a:solidFill>
                <a:schemeClr val="dk1"/>
              </a:solidFill>
            </a:endParaRPr>
          </a:p>
          <a:p>
            <a:pPr>
              <a:lnSpc>
                <a:spcPct val="150000"/>
              </a:lnSpc>
            </a:pPr>
            <a:endParaRPr sz="2000">
              <a:solidFill>
                <a:schemeClr val="dk1"/>
              </a:solidFill>
            </a:endParaRPr>
          </a:p>
          <a:p>
            <a:pPr>
              <a:lnSpc>
                <a:spcPct val="150000"/>
              </a:lnSpc>
            </a:pPr>
            <a:r>
              <a:rPr sz="2000">
                <a:solidFill>
                  <a:schemeClr val="dk1"/>
                </a:solidFill>
              </a:rPr>
              <a:t>（2）洪水来得太快，已经来不及转移时，要立即爬上屋顶、楼房高屋、大树、高墙，做暂时避险，等待援救。不要单身游水转移。</a:t>
            </a:r>
            <a:endParaRPr sz="2000">
              <a:solidFill>
                <a:schemeClr val="dk1"/>
              </a:solidFill>
            </a:endParaRPr>
          </a:p>
        </p:txBody>
      </p:sp>
      <p:grpSp>
        <p:nvGrpSpPr>
          <p:cNvPr id="38" name="组合 37"/>
          <p:cNvGrpSpPr/>
          <p:nvPr/>
        </p:nvGrpSpPr>
        <p:grpSpPr>
          <a:xfrm>
            <a:off x="8211185" y="1730375"/>
            <a:ext cx="2110740" cy="2143760"/>
            <a:chOff x="12077" y="2642"/>
            <a:chExt cx="4720" cy="5688"/>
          </a:xfrm>
        </p:grpSpPr>
        <p:grpSp>
          <p:nvGrpSpPr>
            <p:cNvPr id="3" name="组合 2"/>
            <p:cNvGrpSpPr/>
            <p:nvPr/>
          </p:nvGrpSpPr>
          <p:grpSpPr>
            <a:xfrm>
              <a:off x="12077" y="2642"/>
              <a:ext cx="4720" cy="5688"/>
              <a:chOff x="12661" y="3081"/>
              <a:chExt cx="4720" cy="5688"/>
            </a:xfrm>
          </p:grpSpPr>
          <p:sp>
            <p:nvSpPr>
              <p:cNvPr id="5" name="任意多边形 4"/>
              <p:cNvSpPr/>
              <p:nvPr>
                <p:custDataLst>
                  <p:tags r:id="rId9"/>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 name="任意多边形 5"/>
              <p:cNvSpPr/>
              <p:nvPr>
                <p:custDataLst>
                  <p:tags r:id="rId10"/>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 name="任意多边形 6"/>
              <p:cNvSpPr/>
              <p:nvPr>
                <p:custDataLst>
                  <p:tags r:id="rId11"/>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 name="任意多边形 7"/>
              <p:cNvSpPr/>
              <p:nvPr>
                <p:custDataLst>
                  <p:tags r:id="rId12"/>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4" name="任意多边形 13"/>
              <p:cNvSpPr/>
              <p:nvPr>
                <p:custDataLst>
                  <p:tags r:id="rId13"/>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15" name="任意多边形 14"/>
              <p:cNvSpPr/>
              <p:nvPr>
                <p:custDataLst>
                  <p:tags r:id="rId14"/>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2" name="任意多边形 21"/>
              <p:cNvSpPr/>
              <p:nvPr>
                <p:custDataLst>
                  <p:tags r:id="rId15"/>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4" name="任意多边形 23"/>
              <p:cNvSpPr/>
              <p:nvPr>
                <p:custDataLst>
                  <p:tags r:id="rId16"/>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5" name="任意多边形 24"/>
              <p:cNvSpPr/>
              <p:nvPr>
                <p:custDataLst>
                  <p:tags r:id="rId17"/>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6" name="任意多边形 25"/>
              <p:cNvSpPr/>
              <p:nvPr>
                <p:custDataLst>
                  <p:tags r:id="rId18"/>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7" name="任意多边形 26"/>
              <p:cNvSpPr/>
              <p:nvPr>
                <p:custDataLst>
                  <p:tags r:id="rId19"/>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28" name="任意多边形 27"/>
              <p:cNvSpPr/>
              <p:nvPr>
                <p:custDataLst>
                  <p:tags r:id="rId20"/>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0" name="任意多边形 29"/>
              <p:cNvSpPr/>
              <p:nvPr>
                <p:custDataLst>
                  <p:tags r:id="rId21"/>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1" name="任意多边形 30"/>
              <p:cNvSpPr/>
              <p:nvPr>
                <p:custDataLst>
                  <p:tags r:id="rId22"/>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2" name="任意多边形 31"/>
              <p:cNvSpPr/>
              <p:nvPr>
                <p:custDataLst>
                  <p:tags r:id="rId23"/>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33" name="任意多边形 32"/>
              <p:cNvSpPr/>
              <p:nvPr>
                <p:custDataLst>
                  <p:tags r:id="rId24"/>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sp>
          <p:nvSpPr>
            <p:cNvPr id="37" name="任意多边形 36"/>
            <p:cNvSpPr/>
            <p:nvPr>
              <p:custDataLst>
                <p:tags r:id="rId25"/>
              </p:custDataLst>
            </p:nvPr>
          </p:nvSpPr>
          <p:spPr>
            <a:xfrm>
              <a:off x="13651" y="3758"/>
              <a:ext cx="1353" cy="2551"/>
            </a:xfrm>
            <a:custGeom>
              <a:avLst/>
              <a:gdLst>
                <a:gd name="connisteX0" fmla="*/ 330835 w 1429385"/>
                <a:gd name="connsiteY0" fmla="*/ 53340 h 2024380"/>
                <a:gd name="connisteX1" fmla="*/ 0 w 1429385"/>
                <a:gd name="connsiteY1" fmla="*/ 1865630 h 2024380"/>
                <a:gd name="connisteX2" fmla="*/ 555625 w 1429385"/>
                <a:gd name="connsiteY2" fmla="*/ 2024380 h 2024380"/>
                <a:gd name="connisteX3" fmla="*/ 807085 w 1429385"/>
                <a:gd name="connsiteY3" fmla="*/ 1852295 h 2024380"/>
                <a:gd name="connisteX4" fmla="*/ 913130 w 1429385"/>
                <a:gd name="connsiteY4" fmla="*/ 1958340 h 2024380"/>
                <a:gd name="connisteX5" fmla="*/ 1019175 w 1429385"/>
                <a:gd name="connsiteY5" fmla="*/ 1772920 h 2024380"/>
                <a:gd name="connisteX6" fmla="*/ 1362710 w 1429385"/>
                <a:gd name="connsiteY6" fmla="*/ 1945005 h 2024380"/>
                <a:gd name="connisteX7" fmla="*/ 1429385 w 1429385"/>
                <a:gd name="connsiteY7" fmla="*/ 146050 h 2024380"/>
                <a:gd name="connisteX8" fmla="*/ 1085215 w 1429385"/>
                <a:gd name="connsiteY8" fmla="*/ 0 h 2024380"/>
                <a:gd name="connisteX9" fmla="*/ 965835 w 1429385"/>
                <a:gd name="connsiteY9" fmla="*/ 132715 h 2024380"/>
                <a:gd name="connisteX10" fmla="*/ 807085 w 1429385"/>
                <a:gd name="connsiteY10" fmla="*/ 13335 h 2024380"/>
                <a:gd name="connisteX11" fmla="*/ 688340 w 1429385"/>
                <a:gd name="connsiteY11" fmla="*/ 53340 h 2024380"/>
                <a:gd name="connisteX12" fmla="*/ 330835 w 1429385"/>
                <a:gd name="connsiteY12" fmla="*/ 53340 h 202438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 ang="0">
                  <a:pos x="connisteX12" y="connsiteY12"/>
                </a:cxn>
              </a:cxnLst>
              <a:rect l="l" t="t" r="r" b="b"/>
              <a:pathLst>
                <a:path w="1429385" h="2024380">
                  <a:moveTo>
                    <a:pt x="330835" y="53340"/>
                  </a:moveTo>
                  <a:lnTo>
                    <a:pt x="0" y="1865630"/>
                  </a:lnTo>
                  <a:lnTo>
                    <a:pt x="555625" y="2024380"/>
                  </a:lnTo>
                  <a:lnTo>
                    <a:pt x="807085" y="1852295"/>
                  </a:lnTo>
                  <a:lnTo>
                    <a:pt x="913130" y="1958340"/>
                  </a:lnTo>
                  <a:lnTo>
                    <a:pt x="1019175" y="1772920"/>
                  </a:lnTo>
                  <a:lnTo>
                    <a:pt x="1362710" y="1945005"/>
                  </a:lnTo>
                  <a:lnTo>
                    <a:pt x="1429385" y="146050"/>
                  </a:lnTo>
                  <a:lnTo>
                    <a:pt x="1085215" y="0"/>
                  </a:lnTo>
                  <a:lnTo>
                    <a:pt x="965835" y="132715"/>
                  </a:lnTo>
                  <a:lnTo>
                    <a:pt x="807085" y="13335"/>
                  </a:lnTo>
                  <a:lnTo>
                    <a:pt x="688340" y="53340"/>
                  </a:lnTo>
                  <a:lnTo>
                    <a:pt x="330835" y="53340"/>
                  </a:lnTo>
                  <a:close/>
                </a:path>
              </a:pathLst>
            </a:custGeom>
            <a:pattFill prst="dkVert">
              <a:fgClr>
                <a:schemeClr val="accent2">
                  <a:lumMod val="50000"/>
                </a:schemeClr>
              </a:fgClr>
              <a:bgClr>
                <a:schemeClr val="accent2">
                  <a:lumMod val="75000"/>
                </a:schemeClr>
              </a:bgClr>
            </a:pattFill>
            <a:ln>
              <a:noFill/>
            </a:ln>
            <a:scene3d>
              <a:camera prst="perspectiveAbove"/>
              <a:lightRig rig="threePt" dir="t"/>
            </a:scene3d>
            <a:sp3d extrusionH="254000">
              <a:extrusionClr>
                <a:schemeClr val="accent2">
                  <a:lumMod val="50000"/>
                </a:schemeClr>
              </a:extrusion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2" name="任意多边形 41"/>
            <p:cNvSpPr/>
            <p:nvPr>
              <p:custDataLst>
                <p:tags r:id="rId26"/>
              </p:custDataLst>
            </p:nvPr>
          </p:nvSpPr>
          <p:spPr>
            <a:xfrm rot="14160000">
              <a:off x="13992" y="4425"/>
              <a:ext cx="672" cy="909"/>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chemeClr val="l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41" name="组合 40"/>
          <p:cNvGrpSpPr/>
          <p:nvPr/>
        </p:nvGrpSpPr>
        <p:grpSpPr>
          <a:xfrm>
            <a:off x="8118475" y="3855085"/>
            <a:ext cx="2110740" cy="2143760"/>
            <a:chOff x="12661" y="3081"/>
            <a:chExt cx="4720" cy="5688"/>
          </a:xfrm>
        </p:grpSpPr>
        <p:sp>
          <p:nvSpPr>
            <p:cNvPr id="43" name="任意多边形 42"/>
            <p:cNvSpPr/>
            <p:nvPr>
              <p:custDataLst>
                <p:tags r:id="rId27"/>
              </p:custDataLst>
            </p:nvPr>
          </p:nvSpPr>
          <p:spPr>
            <a:xfrm>
              <a:off x="12661" y="3081"/>
              <a:ext cx="3042" cy="3438"/>
            </a:xfrm>
            <a:custGeom>
              <a:avLst/>
              <a:gdLst>
                <a:gd name="connisteX0" fmla="*/ 1931670 w 1931670"/>
                <a:gd name="connsiteY0" fmla="*/ 0 h 2183130"/>
                <a:gd name="connisteX1" fmla="*/ 767080 w 1931670"/>
                <a:gd name="connsiteY1" fmla="*/ 622300 h 2183130"/>
                <a:gd name="connisteX2" fmla="*/ 899160 w 1931670"/>
                <a:gd name="connsiteY2" fmla="*/ 1442085 h 2183130"/>
                <a:gd name="connisteX3" fmla="*/ 0 w 1931670"/>
                <a:gd name="connsiteY3" fmla="*/ 2183130 h 2183130"/>
              </a:gdLst>
              <a:ahLst/>
              <a:cxnLst>
                <a:cxn ang="0">
                  <a:pos x="connisteX0" y="connsiteY0"/>
                </a:cxn>
                <a:cxn ang="0">
                  <a:pos x="connisteX1" y="connsiteY1"/>
                </a:cxn>
                <a:cxn ang="0">
                  <a:pos x="connisteX2" y="connsiteY2"/>
                </a:cxn>
                <a:cxn ang="0">
                  <a:pos x="connisteX3" y="connsiteY3"/>
                </a:cxn>
              </a:cxnLst>
              <a:rect l="l" t="t" r="r" b="b"/>
              <a:pathLst>
                <a:path w="1931670" h="2183130">
                  <a:moveTo>
                    <a:pt x="1931670" y="0"/>
                  </a:moveTo>
                  <a:cubicBezTo>
                    <a:pt x="1696085" y="107950"/>
                    <a:pt x="973455" y="334010"/>
                    <a:pt x="767080" y="622300"/>
                  </a:cubicBezTo>
                  <a:cubicBezTo>
                    <a:pt x="560705" y="910590"/>
                    <a:pt x="1052830" y="1129665"/>
                    <a:pt x="899160" y="1442085"/>
                  </a:cubicBezTo>
                  <a:cubicBezTo>
                    <a:pt x="745490" y="1754505"/>
                    <a:pt x="182245" y="2051050"/>
                    <a:pt x="0" y="2183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4" name="任意多边形 43"/>
            <p:cNvSpPr/>
            <p:nvPr>
              <p:custDataLst>
                <p:tags r:id="rId28"/>
              </p:custDataLst>
            </p:nvPr>
          </p:nvSpPr>
          <p:spPr>
            <a:xfrm>
              <a:off x="15682" y="3227"/>
              <a:ext cx="1699" cy="5542"/>
            </a:xfrm>
            <a:custGeom>
              <a:avLst/>
              <a:gdLst>
                <a:gd name="connisteX0" fmla="*/ 753745 w 1078926"/>
                <a:gd name="connsiteY0" fmla="*/ 0 h 3519170"/>
                <a:gd name="connisteX1" fmla="*/ 502285 w 1078926"/>
                <a:gd name="connsiteY1" fmla="*/ 621665 h 3519170"/>
                <a:gd name="connisteX2" fmla="*/ 925830 w 1078926"/>
                <a:gd name="connsiteY2" fmla="*/ 1283335 h 3519170"/>
                <a:gd name="connisteX3" fmla="*/ 991870 w 1078926"/>
                <a:gd name="connsiteY3" fmla="*/ 2553335 h 3519170"/>
                <a:gd name="connisteX4" fmla="*/ 0 w 1078926"/>
                <a:gd name="connsiteY4" fmla="*/ 3519170 h 3519170"/>
              </a:gdLst>
              <a:ahLst/>
              <a:cxnLst>
                <a:cxn ang="0">
                  <a:pos x="connisteX0" y="connsiteY0"/>
                </a:cxn>
                <a:cxn ang="0">
                  <a:pos x="connisteX1" y="connsiteY1"/>
                </a:cxn>
                <a:cxn ang="0">
                  <a:pos x="connisteX2" y="connsiteY2"/>
                </a:cxn>
                <a:cxn ang="0">
                  <a:pos x="connisteX3" y="connsiteY3"/>
                </a:cxn>
                <a:cxn ang="0">
                  <a:pos x="connisteX4" y="connsiteY4"/>
                </a:cxn>
              </a:cxnLst>
              <a:rect l="l" t="t" r="r" b="b"/>
              <a:pathLst>
                <a:path w="1078927" h="3519170">
                  <a:moveTo>
                    <a:pt x="753745" y="0"/>
                  </a:moveTo>
                  <a:cubicBezTo>
                    <a:pt x="694690" y="111125"/>
                    <a:pt x="467995" y="365125"/>
                    <a:pt x="502285" y="621665"/>
                  </a:cubicBezTo>
                  <a:cubicBezTo>
                    <a:pt x="536575" y="878205"/>
                    <a:pt x="828040" y="897255"/>
                    <a:pt x="925830" y="1283335"/>
                  </a:cubicBezTo>
                  <a:cubicBezTo>
                    <a:pt x="1023620" y="1669415"/>
                    <a:pt x="1177290" y="2106295"/>
                    <a:pt x="991870" y="2553335"/>
                  </a:cubicBezTo>
                  <a:cubicBezTo>
                    <a:pt x="806450" y="3000375"/>
                    <a:pt x="199390" y="3351530"/>
                    <a:pt x="0" y="351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5" name="任意多边形 44"/>
            <p:cNvSpPr/>
            <p:nvPr>
              <p:custDataLst>
                <p:tags r:id="rId29"/>
              </p:custDataLst>
            </p:nvPr>
          </p:nvSpPr>
          <p:spPr>
            <a:xfrm>
              <a:off x="14943" y="3373"/>
              <a:ext cx="1010" cy="1208"/>
            </a:xfrm>
            <a:custGeom>
              <a:avLst/>
              <a:gdLst>
                <a:gd name="connisteX0" fmla="*/ 641042 w 641042"/>
                <a:gd name="connsiteY0" fmla="*/ 0 h 767080"/>
                <a:gd name="connisteX1" fmla="*/ 111452 w 641042"/>
                <a:gd name="connsiteY1" fmla="*/ 224790 h 767080"/>
                <a:gd name="connisteX2" fmla="*/ 6042 w 641042"/>
                <a:gd name="connsiteY2" fmla="*/ 476250 h 767080"/>
                <a:gd name="connisteX3" fmla="*/ 164792 w 641042"/>
                <a:gd name="connsiteY3" fmla="*/ 767080 h 767080"/>
              </a:gdLst>
              <a:ahLst/>
              <a:cxnLst>
                <a:cxn ang="0">
                  <a:pos x="connisteX0" y="connsiteY0"/>
                </a:cxn>
                <a:cxn ang="0">
                  <a:pos x="connisteX1" y="connsiteY1"/>
                </a:cxn>
                <a:cxn ang="0">
                  <a:pos x="connisteX2" y="connsiteY2"/>
                </a:cxn>
                <a:cxn ang="0">
                  <a:pos x="connisteX3" y="connsiteY3"/>
                </a:cxn>
              </a:cxnLst>
              <a:rect l="l" t="t" r="r" b="b"/>
              <a:pathLst>
                <a:path w="641043" h="767080">
                  <a:moveTo>
                    <a:pt x="641043" y="0"/>
                  </a:moveTo>
                  <a:cubicBezTo>
                    <a:pt x="537538" y="40005"/>
                    <a:pt x="238453" y="129540"/>
                    <a:pt x="111453" y="224790"/>
                  </a:cubicBezTo>
                  <a:cubicBezTo>
                    <a:pt x="-15547" y="320040"/>
                    <a:pt x="-4752" y="367665"/>
                    <a:pt x="6043" y="476250"/>
                  </a:cubicBezTo>
                  <a:cubicBezTo>
                    <a:pt x="16838" y="584835"/>
                    <a:pt x="131138" y="713740"/>
                    <a:pt x="164793" y="76708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6" name="任意多边形 45"/>
            <p:cNvSpPr/>
            <p:nvPr>
              <p:custDataLst>
                <p:tags r:id="rId30"/>
              </p:custDataLst>
            </p:nvPr>
          </p:nvSpPr>
          <p:spPr>
            <a:xfrm>
              <a:off x="15637" y="3831"/>
              <a:ext cx="607" cy="1542"/>
            </a:xfrm>
            <a:custGeom>
              <a:avLst/>
              <a:gdLst>
                <a:gd name="connisteX0" fmla="*/ 94539 w 385322"/>
                <a:gd name="connsiteY0" fmla="*/ 0 h 979170"/>
                <a:gd name="connisteX1" fmla="*/ 15164 w 385322"/>
                <a:gd name="connsiteY1" fmla="*/ 317500 h 979170"/>
                <a:gd name="connisteX2" fmla="*/ 372034 w 385322"/>
                <a:gd name="connsiteY2" fmla="*/ 741045 h 979170"/>
                <a:gd name="connisteX3" fmla="*/ 279959 w 385322"/>
                <a:gd name="connsiteY3" fmla="*/ 979170 h 979170"/>
              </a:gdLst>
              <a:ahLst/>
              <a:cxnLst>
                <a:cxn ang="0">
                  <a:pos x="connisteX0" y="connsiteY0"/>
                </a:cxn>
                <a:cxn ang="0">
                  <a:pos x="connisteX1" y="connsiteY1"/>
                </a:cxn>
                <a:cxn ang="0">
                  <a:pos x="connisteX2" y="connsiteY2"/>
                </a:cxn>
                <a:cxn ang="0">
                  <a:pos x="connisteX3" y="connsiteY3"/>
                </a:cxn>
              </a:cxnLst>
              <a:rect l="l" t="t" r="r" b="b"/>
              <a:pathLst>
                <a:path w="385323" h="979170">
                  <a:moveTo>
                    <a:pt x="94540" y="0"/>
                  </a:moveTo>
                  <a:cubicBezTo>
                    <a:pt x="71680" y="55245"/>
                    <a:pt x="-40080" y="169545"/>
                    <a:pt x="15165" y="317500"/>
                  </a:cubicBezTo>
                  <a:cubicBezTo>
                    <a:pt x="70410" y="465455"/>
                    <a:pt x="319330" y="608965"/>
                    <a:pt x="372035" y="741045"/>
                  </a:cubicBezTo>
                  <a:cubicBezTo>
                    <a:pt x="424740" y="873125"/>
                    <a:pt x="305360" y="939800"/>
                    <a:pt x="279960" y="97917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47" name="任意多边形 46"/>
            <p:cNvSpPr/>
            <p:nvPr>
              <p:custDataLst>
                <p:tags r:id="rId31"/>
              </p:custDataLst>
            </p:nvPr>
          </p:nvSpPr>
          <p:spPr>
            <a:xfrm>
              <a:off x="14640" y="4915"/>
              <a:ext cx="271" cy="1229"/>
            </a:xfrm>
            <a:custGeom>
              <a:avLst/>
              <a:gdLst>
                <a:gd name="connisteX0" fmla="*/ 0 w 172243"/>
                <a:gd name="connsiteY0" fmla="*/ 0 h 780415"/>
                <a:gd name="connisteX1" fmla="*/ 172085 w 172243"/>
                <a:gd name="connsiteY1" fmla="*/ 462915 h 780415"/>
                <a:gd name="connisteX2" fmla="*/ 26670 w 172243"/>
                <a:gd name="connsiteY2" fmla="*/ 780415 h 780415"/>
              </a:gdLst>
              <a:ahLst/>
              <a:cxnLst>
                <a:cxn ang="0">
                  <a:pos x="connisteX0" y="connsiteY0"/>
                </a:cxn>
                <a:cxn ang="0">
                  <a:pos x="connisteX1" y="connsiteY1"/>
                </a:cxn>
                <a:cxn ang="0">
                  <a:pos x="connisteX2" y="connsiteY2"/>
                </a:cxn>
              </a:cxnLst>
              <a:rect l="l" t="t" r="r" b="b"/>
              <a:pathLst>
                <a:path w="172244" h="780415">
                  <a:moveTo>
                    <a:pt x="0" y="0"/>
                  </a:moveTo>
                  <a:cubicBezTo>
                    <a:pt x="37465" y="86360"/>
                    <a:pt x="167005" y="306705"/>
                    <a:pt x="172085" y="462915"/>
                  </a:cubicBezTo>
                  <a:cubicBezTo>
                    <a:pt x="177165" y="619125"/>
                    <a:pt x="59055" y="726440"/>
                    <a:pt x="26670" y="78041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8" name="任意多边形 67"/>
            <p:cNvSpPr/>
            <p:nvPr>
              <p:custDataLst>
                <p:tags r:id="rId32"/>
              </p:custDataLst>
            </p:nvPr>
          </p:nvSpPr>
          <p:spPr>
            <a:xfrm>
              <a:off x="16057" y="5519"/>
              <a:ext cx="664" cy="1637"/>
            </a:xfrm>
            <a:custGeom>
              <a:avLst/>
              <a:gdLst>
                <a:gd name="connisteX0" fmla="*/ 330835 w 421564"/>
                <a:gd name="connsiteY0" fmla="*/ 0 h 1039489"/>
                <a:gd name="connisteX1" fmla="*/ 410210 w 421564"/>
                <a:gd name="connsiteY1" fmla="*/ 489585 h 1039489"/>
                <a:gd name="connisteX2" fmla="*/ 105410 w 421564"/>
                <a:gd name="connsiteY2" fmla="*/ 978535 h 1039489"/>
                <a:gd name="connisteX3" fmla="*/ 0 w 421564"/>
                <a:gd name="connsiteY3" fmla="*/ 1018540 h 1039489"/>
              </a:gdLst>
              <a:ahLst/>
              <a:cxnLst>
                <a:cxn ang="0">
                  <a:pos x="connisteX0" y="connsiteY0"/>
                </a:cxn>
                <a:cxn ang="0">
                  <a:pos x="connisteX1" y="connsiteY1"/>
                </a:cxn>
                <a:cxn ang="0">
                  <a:pos x="connisteX2" y="connsiteY2"/>
                </a:cxn>
                <a:cxn ang="0">
                  <a:pos x="connisteX3" y="connsiteY3"/>
                </a:cxn>
              </a:cxnLst>
              <a:rect l="l" t="t" r="r" b="b"/>
              <a:pathLst>
                <a:path w="421565" h="1039490">
                  <a:moveTo>
                    <a:pt x="330835" y="0"/>
                  </a:moveTo>
                  <a:cubicBezTo>
                    <a:pt x="353060" y="88265"/>
                    <a:pt x="455295" y="294005"/>
                    <a:pt x="410210" y="489585"/>
                  </a:cubicBezTo>
                  <a:cubicBezTo>
                    <a:pt x="365125" y="685165"/>
                    <a:pt x="187325" y="872490"/>
                    <a:pt x="105410" y="978535"/>
                  </a:cubicBezTo>
                  <a:cubicBezTo>
                    <a:pt x="23495" y="1084580"/>
                    <a:pt x="15240" y="1020445"/>
                    <a:pt x="0" y="10185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69" name="任意多边形 68"/>
            <p:cNvSpPr/>
            <p:nvPr>
              <p:custDataLst>
                <p:tags r:id="rId33"/>
              </p:custDataLst>
            </p:nvPr>
          </p:nvSpPr>
          <p:spPr>
            <a:xfrm>
              <a:off x="13744" y="5873"/>
              <a:ext cx="1919" cy="2104"/>
            </a:xfrm>
            <a:custGeom>
              <a:avLst/>
              <a:gdLst>
                <a:gd name="connisteX0" fmla="*/ 1217295 w 1218771"/>
                <a:gd name="connsiteY0" fmla="*/ 0 h 1336040"/>
                <a:gd name="connisteX1" fmla="*/ 1124585 w 1218771"/>
                <a:gd name="connsiteY1" fmla="*/ 741045 h 1336040"/>
                <a:gd name="connisteX2" fmla="*/ 568960 w 1218771"/>
                <a:gd name="connsiteY2" fmla="*/ 1124585 h 1336040"/>
                <a:gd name="connisteX3" fmla="*/ 0 w 1218771"/>
                <a:gd name="connsiteY3" fmla="*/ 1336040 h 1336040"/>
              </a:gdLst>
              <a:ahLst/>
              <a:cxnLst>
                <a:cxn ang="0">
                  <a:pos x="connisteX0" y="connsiteY0"/>
                </a:cxn>
                <a:cxn ang="0">
                  <a:pos x="connisteX1" y="connsiteY1"/>
                </a:cxn>
                <a:cxn ang="0">
                  <a:pos x="connisteX2" y="connsiteY2"/>
                </a:cxn>
                <a:cxn ang="0">
                  <a:pos x="connisteX3" y="connsiteY3"/>
                </a:cxn>
              </a:cxnLst>
              <a:rect l="l" t="t" r="r" b="b"/>
              <a:pathLst>
                <a:path w="1218771" h="1336040">
                  <a:moveTo>
                    <a:pt x="1217295" y="0"/>
                  </a:moveTo>
                  <a:cubicBezTo>
                    <a:pt x="1209675" y="140335"/>
                    <a:pt x="1254125" y="516255"/>
                    <a:pt x="1124585" y="741045"/>
                  </a:cubicBezTo>
                  <a:cubicBezTo>
                    <a:pt x="995045" y="965835"/>
                    <a:pt x="793750" y="1005840"/>
                    <a:pt x="568960" y="1124585"/>
                  </a:cubicBezTo>
                  <a:cubicBezTo>
                    <a:pt x="344170" y="1243330"/>
                    <a:pt x="102870" y="1301115"/>
                    <a:pt x="0" y="133604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0" name="任意多边形 69"/>
            <p:cNvSpPr/>
            <p:nvPr>
              <p:custDataLst>
                <p:tags r:id="rId34"/>
              </p:custDataLst>
            </p:nvPr>
          </p:nvSpPr>
          <p:spPr>
            <a:xfrm>
              <a:off x="13348" y="6685"/>
              <a:ext cx="1688" cy="464"/>
            </a:xfrm>
            <a:custGeom>
              <a:avLst/>
              <a:gdLst>
                <a:gd name="connisteX0" fmla="*/ 1071880 w 1071880"/>
                <a:gd name="connsiteY0" fmla="*/ 0 h 294365"/>
                <a:gd name="connisteX1" fmla="*/ 396875 w 1071880"/>
                <a:gd name="connsiteY1" fmla="*/ 264795 h 294365"/>
                <a:gd name="connisteX2" fmla="*/ 0 w 1071880"/>
                <a:gd name="connsiteY2" fmla="*/ 278130 h 294365"/>
              </a:gdLst>
              <a:ahLst/>
              <a:cxnLst>
                <a:cxn ang="0">
                  <a:pos x="connisteX0" y="connsiteY0"/>
                </a:cxn>
                <a:cxn ang="0">
                  <a:pos x="connisteX1" y="connsiteY1"/>
                </a:cxn>
                <a:cxn ang="0">
                  <a:pos x="connisteX2" y="connsiteY2"/>
                </a:cxn>
              </a:cxnLst>
              <a:rect l="l" t="t" r="r" b="b"/>
              <a:pathLst>
                <a:path w="1071880" h="294365">
                  <a:moveTo>
                    <a:pt x="1071880" y="0"/>
                  </a:moveTo>
                  <a:cubicBezTo>
                    <a:pt x="944880" y="52705"/>
                    <a:pt x="611505" y="208915"/>
                    <a:pt x="396875" y="264795"/>
                  </a:cubicBezTo>
                  <a:cubicBezTo>
                    <a:pt x="182245" y="320675"/>
                    <a:pt x="66040" y="280670"/>
                    <a:pt x="0" y="278130"/>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1" name="任意多边形 70"/>
            <p:cNvSpPr/>
            <p:nvPr>
              <p:custDataLst>
                <p:tags r:id="rId35"/>
              </p:custDataLst>
            </p:nvPr>
          </p:nvSpPr>
          <p:spPr>
            <a:xfrm>
              <a:off x="14807" y="7769"/>
              <a:ext cx="1625" cy="937"/>
            </a:xfrm>
            <a:custGeom>
              <a:avLst/>
              <a:gdLst>
                <a:gd name="connisteX0" fmla="*/ 1031875 w 1031875"/>
                <a:gd name="connsiteY0" fmla="*/ 0 h 594995"/>
                <a:gd name="connisteX1" fmla="*/ 343535 w 1031875"/>
                <a:gd name="connsiteY1" fmla="*/ 502920 h 594995"/>
                <a:gd name="connisteX2" fmla="*/ 0 w 1031875"/>
                <a:gd name="connsiteY2" fmla="*/ 594995 h 594995"/>
              </a:gdLst>
              <a:ahLst/>
              <a:cxnLst>
                <a:cxn ang="0">
                  <a:pos x="connisteX0" y="connsiteY0"/>
                </a:cxn>
                <a:cxn ang="0">
                  <a:pos x="connisteX1" y="connsiteY1"/>
                </a:cxn>
                <a:cxn ang="0">
                  <a:pos x="connisteX2" y="connsiteY2"/>
                </a:cxn>
              </a:cxnLst>
              <a:rect l="l" t="t" r="r" b="b"/>
              <a:pathLst>
                <a:path w="1031875" h="594995">
                  <a:moveTo>
                    <a:pt x="1031875" y="0"/>
                  </a:moveTo>
                  <a:cubicBezTo>
                    <a:pt x="901065" y="98425"/>
                    <a:pt x="549910" y="384175"/>
                    <a:pt x="343535" y="502920"/>
                  </a:cubicBezTo>
                  <a:cubicBezTo>
                    <a:pt x="137160" y="621665"/>
                    <a:pt x="55245" y="586740"/>
                    <a:pt x="0" y="594995"/>
                  </a:cubicBezTo>
                </a:path>
              </a:pathLst>
            </a:custGeom>
            <a:no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2" name="任意多边形 71"/>
            <p:cNvSpPr/>
            <p:nvPr>
              <p:custDataLst>
                <p:tags r:id="rId36"/>
              </p:custDataLst>
            </p:nvPr>
          </p:nvSpPr>
          <p:spPr>
            <a:xfrm>
              <a:off x="14890" y="4186"/>
              <a:ext cx="917" cy="750"/>
            </a:xfrm>
            <a:custGeom>
              <a:avLst/>
              <a:gdLst>
                <a:gd name="connisteX0" fmla="*/ 582295 w 582295"/>
                <a:gd name="connsiteY0" fmla="*/ 317500 h 476250"/>
                <a:gd name="connisteX1" fmla="*/ 238125 w 582295"/>
                <a:gd name="connsiteY1" fmla="*/ 0 h 476250"/>
                <a:gd name="connisteX2" fmla="*/ 158750 w 582295"/>
                <a:gd name="connsiteY2" fmla="*/ 224790 h 476250"/>
                <a:gd name="connisteX3" fmla="*/ 0 w 582295"/>
                <a:gd name="connsiteY3" fmla="*/ 224790 h 476250"/>
                <a:gd name="connisteX4" fmla="*/ 185420 w 582295"/>
                <a:gd name="connsiteY4" fmla="*/ 476250 h 476250"/>
                <a:gd name="connisteX5" fmla="*/ 370205 w 582295"/>
                <a:gd name="connsiteY5" fmla="*/ 449580 h 476250"/>
                <a:gd name="connisteX6" fmla="*/ 502920 w 582295"/>
                <a:gd name="connsiteY6" fmla="*/ 476250 h 476250"/>
                <a:gd name="connisteX7" fmla="*/ 542290 w 582295"/>
                <a:gd name="connsiteY7" fmla="*/ 343535 h 476250"/>
                <a:gd name="connisteX8" fmla="*/ 582295 w 582295"/>
                <a:gd name="connsiteY8" fmla="*/ 317500 h 47625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582295" h="476250">
                  <a:moveTo>
                    <a:pt x="582295" y="317500"/>
                  </a:moveTo>
                  <a:lnTo>
                    <a:pt x="238125" y="0"/>
                  </a:lnTo>
                  <a:lnTo>
                    <a:pt x="158750" y="224790"/>
                  </a:lnTo>
                  <a:lnTo>
                    <a:pt x="0" y="224790"/>
                  </a:lnTo>
                  <a:lnTo>
                    <a:pt x="185420" y="476250"/>
                  </a:lnTo>
                  <a:lnTo>
                    <a:pt x="370205" y="449580"/>
                  </a:lnTo>
                  <a:lnTo>
                    <a:pt x="502920" y="476250"/>
                  </a:lnTo>
                  <a:lnTo>
                    <a:pt x="542290" y="343535"/>
                  </a:lnTo>
                  <a:lnTo>
                    <a:pt x="582295" y="31750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3" name="任意多边形 72"/>
            <p:cNvSpPr/>
            <p:nvPr>
              <p:custDataLst>
                <p:tags r:id="rId37"/>
              </p:custDataLst>
            </p:nvPr>
          </p:nvSpPr>
          <p:spPr>
            <a:xfrm>
              <a:off x="14161" y="5477"/>
              <a:ext cx="416" cy="375"/>
            </a:xfrm>
            <a:custGeom>
              <a:avLst/>
              <a:gdLst>
                <a:gd name="connisteX0" fmla="*/ 92710 w 264160"/>
                <a:gd name="connsiteY0" fmla="*/ 0 h 238125"/>
                <a:gd name="connisteX1" fmla="*/ 264160 w 264160"/>
                <a:gd name="connsiteY1" fmla="*/ 53340 h 238125"/>
                <a:gd name="connisteX2" fmla="*/ 264160 w 264160"/>
                <a:gd name="connsiteY2" fmla="*/ 238125 h 238125"/>
                <a:gd name="connisteX3" fmla="*/ 0 w 264160"/>
                <a:gd name="connsiteY3" fmla="*/ 238125 h 238125"/>
                <a:gd name="connisteX4" fmla="*/ 0 w 264160"/>
                <a:gd name="connsiteY4" fmla="*/ 106045 h 238125"/>
                <a:gd name="connisteX5" fmla="*/ 92710 w 264160"/>
                <a:gd name="connsiteY5" fmla="*/ 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Lst>
              <a:rect l="l" t="t" r="r" b="b"/>
              <a:pathLst>
                <a:path w="264160" h="238125">
                  <a:moveTo>
                    <a:pt x="92710" y="0"/>
                  </a:moveTo>
                  <a:lnTo>
                    <a:pt x="264160" y="53340"/>
                  </a:lnTo>
                  <a:lnTo>
                    <a:pt x="264160" y="238125"/>
                  </a:lnTo>
                  <a:lnTo>
                    <a:pt x="0" y="238125"/>
                  </a:lnTo>
                  <a:lnTo>
                    <a:pt x="0" y="106045"/>
                  </a:lnTo>
                  <a:lnTo>
                    <a:pt x="92710" y="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4" name="任意多边形 73"/>
            <p:cNvSpPr/>
            <p:nvPr>
              <p:custDataLst>
                <p:tags r:id="rId38"/>
              </p:custDataLst>
            </p:nvPr>
          </p:nvSpPr>
          <p:spPr>
            <a:xfrm>
              <a:off x="16140" y="6102"/>
              <a:ext cx="646" cy="646"/>
            </a:xfrm>
            <a:custGeom>
              <a:avLst/>
              <a:gdLst>
                <a:gd name="connisteX0" fmla="*/ 132080 w 410210"/>
                <a:gd name="connsiteY0" fmla="*/ 66040 h 410210"/>
                <a:gd name="connisteX1" fmla="*/ 13335 w 410210"/>
                <a:gd name="connsiteY1" fmla="*/ 13335 h 410210"/>
                <a:gd name="connisteX2" fmla="*/ 0 w 410210"/>
                <a:gd name="connsiteY2" fmla="*/ 40005 h 410210"/>
                <a:gd name="connisteX3" fmla="*/ 0 w 410210"/>
                <a:gd name="connsiteY3" fmla="*/ 158750 h 410210"/>
                <a:gd name="connisteX4" fmla="*/ 172085 w 410210"/>
                <a:gd name="connsiteY4" fmla="*/ 211455 h 410210"/>
                <a:gd name="connisteX5" fmla="*/ 238125 w 410210"/>
                <a:gd name="connsiteY5" fmla="*/ 410210 h 410210"/>
                <a:gd name="connisteX6" fmla="*/ 370205 w 410210"/>
                <a:gd name="connsiteY6" fmla="*/ 317500 h 410210"/>
                <a:gd name="connisteX7" fmla="*/ 330835 w 410210"/>
                <a:gd name="connsiteY7" fmla="*/ 198755 h 410210"/>
                <a:gd name="connisteX8" fmla="*/ 251460 w 410210"/>
                <a:gd name="connsiteY8" fmla="*/ 172085 h 410210"/>
                <a:gd name="connisteX9" fmla="*/ 410210 w 410210"/>
                <a:gd name="connsiteY9" fmla="*/ 53340 h 410210"/>
                <a:gd name="connisteX10" fmla="*/ 238125 w 410210"/>
                <a:gd name="connsiteY10" fmla="*/ 0 h 410210"/>
                <a:gd name="connisteX11" fmla="*/ 132080 w 410210"/>
                <a:gd name="connsiteY11" fmla="*/ 66040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 ang="0">
                  <a:pos x="connisteX9" y="connsiteY9"/>
                </a:cxn>
                <a:cxn ang="0">
                  <a:pos x="connisteX10" y="connsiteY10"/>
                </a:cxn>
                <a:cxn ang="0">
                  <a:pos x="connisteX11" y="connsiteY11"/>
                </a:cxn>
              </a:cxnLst>
              <a:rect l="l" t="t" r="r" b="b"/>
              <a:pathLst>
                <a:path w="410210" h="410210">
                  <a:moveTo>
                    <a:pt x="132080" y="66040"/>
                  </a:moveTo>
                  <a:lnTo>
                    <a:pt x="13335" y="13335"/>
                  </a:lnTo>
                  <a:lnTo>
                    <a:pt x="0" y="40005"/>
                  </a:lnTo>
                  <a:lnTo>
                    <a:pt x="0" y="158750"/>
                  </a:lnTo>
                  <a:lnTo>
                    <a:pt x="172085" y="211455"/>
                  </a:lnTo>
                  <a:lnTo>
                    <a:pt x="238125" y="410210"/>
                  </a:lnTo>
                  <a:lnTo>
                    <a:pt x="370205" y="317500"/>
                  </a:lnTo>
                  <a:lnTo>
                    <a:pt x="330835" y="198755"/>
                  </a:lnTo>
                  <a:lnTo>
                    <a:pt x="251460" y="172085"/>
                  </a:lnTo>
                  <a:lnTo>
                    <a:pt x="410210" y="53340"/>
                  </a:lnTo>
                  <a:lnTo>
                    <a:pt x="238125" y="0"/>
                  </a:lnTo>
                  <a:lnTo>
                    <a:pt x="132080" y="66040"/>
                  </a:lnTo>
                  <a:close/>
                </a:path>
              </a:pathLst>
            </a:custGeom>
            <a:solidFill>
              <a:schemeClr val="l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5" name="任意多边形 74"/>
            <p:cNvSpPr/>
            <p:nvPr>
              <p:custDataLst>
                <p:tags r:id="rId39"/>
              </p:custDataLst>
            </p:nvPr>
          </p:nvSpPr>
          <p:spPr>
            <a:xfrm>
              <a:off x="14557" y="6581"/>
              <a:ext cx="708" cy="646"/>
            </a:xfrm>
            <a:custGeom>
              <a:avLst/>
              <a:gdLst>
                <a:gd name="connisteX0" fmla="*/ 0 w 449580"/>
                <a:gd name="connsiteY0" fmla="*/ 172085 h 410210"/>
                <a:gd name="connisteX1" fmla="*/ 132080 w 449580"/>
                <a:gd name="connsiteY1" fmla="*/ 410210 h 410210"/>
                <a:gd name="connisteX2" fmla="*/ 449580 w 449580"/>
                <a:gd name="connsiteY2" fmla="*/ 330835 h 410210"/>
                <a:gd name="connisteX3" fmla="*/ 449580 w 449580"/>
                <a:gd name="connsiteY3" fmla="*/ 198755 h 410210"/>
                <a:gd name="connisteX4" fmla="*/ 356870 w 449580"/>
                <a:gd name="connsiteY4" fmla="*/ 185420 h 410210"/>
                <a:gd name="connisteX5" fmla="*/ 211455 w 449580"/>
                <a:gd name="connsiteY5" fmla="*/ 0 h 410210"/>
                <a:gd name="connisteX6" fmla="*/ 105410 w 449580"/>
                <a:gd name="connsiteY6" fmla="*/ 26670 h 410210"/>
                <a:gd name="connisteX7" fmla="*/ 39370 w 449580"/>
                <a:gd name="connsiteY7" fmla="*/ 145415 h 410210"/>
                <a:gd name="connisteX8" fmla="*/ 0 w 449580"/>
                <a:gd name="connsiteY8" fmla="*/ 172085 h 41021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 ang="0">
                  <a:pos x="connisteX8" y="connsiteY8"/>
                </a:cxn>
              </a:cxnLst>
              <a:rect l="l" t="t" r="r" b="b"/>
              <a:pathLst>
                <a:path w="449580" h="410210">
                  <a:moveTo>
                    <a:pt x="0" y="172085"/>
                  </a:moveTo>
                  <a:lnTo>
                    <a:pt x="132080" y="410210"/>
                  </a:lnTo>
                  <a:lnTo>
                    <a:pt x="449580" y="330835"/>
                  </a:lnTo>
                  <a:lnTo>
                    <a:pt x="449580" y="198755"/>
                  </a:lnTo>
                  <a:lnTo>
                    <a:pt x="356870" y="185420"/>
                  </a:lnTo>
                  <a:lnTo>
                    <a:pt x="211455" y="0"/>
                  </a:lnTo>
                  <a:lnTo>
                    <a:pt x="105410" y="26670"/>
                  </a:lnTo>
                  <a:lnTo>
                    <a:pt x="39370" y="145415"/>
                  </a:lnTo>
                  <a:lnTo>
                    <a:pt x="0" y="172085"/>
                  </a:lnTo>
                  <a:close/>
                </a:path>
              </a:pathLst>
            </a:custGeom>
            <a:solidFill>
              <a:schemeClr val="accen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6" name="任意多边形 75"/>
            <p:cNvSpPr/>
            <p:nvPr>
              <p:custDataLst>
                <p:tags r:id="rId40"/>
              </p:custDataLst>
            </p:nvPr>
          </p:nvSpPr>
          <p:spPr>
            <a:xfrm>
              <a:off x="13411" y="6727"/>
              <a:ext cx="479" cy="438"/>
            </a:xfrm>
            <a:custGeom>
              <a:avLst/>
              <a:gdLst>
                <a:gd name="connisteX0" fmla="*/ 132080 w 304165"/>
                <a:gd name="connsiteY0" fmla="*/ 13335 h 278130"/>
                <a:gd name="connisteX1" fmla="*/ 0 w 304165"/>
                <a:gd name="connsiteY1" fmla="*/ 119380 h 278130"/>
                <a:gd name="connisteX2" fmla="*/ 105410 w 304165"/>
                <a:gd name="connsiteY2" fmla="*/ 278130 h 278130"/>
                <a:gd name="connisteX3" fmla="*/ 290830 w 304165"/>
                <a:gd name="connsiteY3" fmla="*/ 278130 h 278130"/>
                <a:gd name="connisteX4" fmla="*/ 304165 w 304165"/>
                <a:gd name="connsiteY4" fmla="*/ 132080 h 278130"/>
                <a:gd name="connisteX5" fmla="*/ 304165 w 304165"/>
                <a:gd name="connsiteY5" fmla="*/ 0 h 278130"/>
                <a:gd name="connisteX6" fmla="*/ 132080 w 304165"/>
                <a:gd name="connsiteY6" fmla="*/ 13335 h 27813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304165" h="278130">
                  <a:moveTo>
                    <a:pt x="132080" y="13335"/>
                  </a:moveTo>
                  <a:lnTo>
                    <a:pt x="0" y="119380"/>
                  </a:lnTo>
                  <a:lnTo>
                    <a:pt x="105410" y="278130"/>
                  </a:lnTo>
                  <a:lnTo>
                    <a:pt x="290830" y="278130"/>
                  </a:lnTo>
                  <a:lnTo>
                    <a:pt x="304165" y="132080"/>
                  </a:lnTo>
                  <a:lnTo>
                    <a:pt x="304165" y="0"/>
                  </a:lnTo>
                  <a:lnTo>
                    <a:pt x="132080" y="13335"/>
                  </a:lnTo>
                  <a:close/>
                </a:path>
              </a:pathLst>
            </a:custGeom>
            <a:solidFill>
              <a:schemeClr val="accen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7" name="任意多边形 76"/>
            <p:cNvSpPr/>
            <p:nvPr>
              <p:custDataLst>
                <p:tags r:id="rId41"/>
              </p:custDataLst>
            </p:nvPr>
          </p:nvSpPr>
          <p:spPr>
            <a:xfrm>
              <a:off x="15765" y="7644"/>
              <a:ext cx="479" cy="375"/>
            </a:xfrm>
            <a:custGeom>
              <a:avLst/>
              <a:gdLst>
                <a:gd name="connisteX0" fmla="*/ 145415 w 304165"/>
                <a:gd name="connsiteY0" fmla="*/ 39370 h 238125"/>
                <a:gd name="connisteX1" fmla="*/ 0 w 304165"/>
                <a:gd name="connsiteY1" fmla="*/ 0 h 238125"/>
                <a:gd name="connisteX2" fmla="*/ 26670 w 304165"/>
                <a:gd name="connsiteY2" fmla="*/ 185420 h 238125"/>
                <a:gd name="connisteX3" fmla="*/ 224790 w 304165"/>
                <a:gd name="connsiteY3" fmla="*/ 238125 h 238125"/>
                <a:gd name="connisteX4" fmla="*/ 304165 w 304165"/>
                <a:gd name="connsiteY4" fmla="*/ 118745 h 238125"/>
                <a:gd name="connisteX5" fmla="*/ 211455 w 304165"/>
                <a:gd name="connsiteY5" fmla="*/ 79375 h 238125"/>
                <a:gd name="connisteX6" fmla="*/ 224790 w 304165"/>
                <a:gd name="connsiteY6" fmla="*/ 26035 h 238125"/>
                <a:gd name="connisteX7" fmla="*/ 145415 w 304165"/>
                <a:gd name="connsiteY7" fmla="*/ 3937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304165" h="238125">
                  <a:moveTo>
                    <a:pt x="145415" y="39370"/>
                  </a:moveTo>
                  <a:lnTo>
                    <a:pt x="0" y="0"/>
                  </a:lnTo>
                  <a:lnTo>
                    <a:pt x="26670" y="185420"/>
                  </a:lnTo>
                  <a:lnTo>
                    <a:pt x="224790" y="238125"/>
                  </a:lnTo>
                  <a:lnTo>
                    <a:pt x="304165" y="118745"/>
                  </a:lnTo>
                  <a:lnTo>
                    <a:pt x="211455" y="79375"/>
                  </a:lnTo>
                  <a:lnTo>
                    <a:pt x="224790" y="26035"/>
                  </a:lnTo>
                  <a:lnTo>
                    <a:pt x="145415" y="39370"/>
                  </a:lnTo>
                  <a:close/>
                </a:path>
              </a:pathLst>
            </a:custGeom>
            <a:solidFill>
              <a:schemeClr val="accent2">
                <a:lumMod val="50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78" name="任意多边形 77"/>
            <p:cNvSpPr/>
            <p:nvPr>
              <p:custDataLst>
                <p:tags r:id="rId42"/>
              </p:custDataLst>
            </p:nvPr>
          </p:nvSpPr>
          <p:spPr>
            <a:xfrm>
              <a:off x="16182" y="4686"/>
              <a:ext cx="458" cy="375"/>
            </a:xfrm>
            <a:custGeom>
              <a:avLst/>
              <a:gdLst>
                <a:gd name="connisteX0" fmla="*/ 172085 w 290830"/>
                <a:gd name="connsiteY0" fmla="*/ 66040 h 238125"/>
                <a:gd name="connisteX1" fmla="*/ 0 w 290830"/>
                <a:gd name="connsiteY1" fmla="*/ 0 h 238125"/>
                <a:gd name="connisteX2" fmla="*/ 132080 w 290830"/>
                <a:gd name="connsiteY2" fmla="*/ 238125 h 238125"/>
                <a:gd name="connisteX3" fmla="*/ 198120 w 290830"/>
                <a:gd name="connsiteY3" fmla="*/ 145415 h 238125"/>
                <a:gd name="connisteX4" fmla="*/ 290830 w 290830"/>
                <a:gd name="connsiteY4" fmla="*/ 92075 h 238125"/>
                <a:gd name="connisteX5" fmla="*/ 132080 w 290830"/>
                <a:gd name="connsiteY5" fmla="*/ 39370 h 238125"/>
                <a:gd name="connisteX6" fmla="*/ 172085 w 290830"/>
                <a:gd name="connsiteY6" fmla="*/ 66040 h 238125"/>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Lst>
              <a:rect l="l" t="t" r="r" b="b"/>
              <a:pathLst>
                <a:path w="290830" h="238125">
                  <a:moveTo>
                    <a:pt x="172085" y="66040"/>
                  </a:moveTo>
                  <a:lnTo>
                    <a:pt x="0" y="0"/>
                  </a:lnTo>
                  <a:lnTo>
                    <a:pt x="132080" y="238125"/>
                  </a:lnTo>
                  <a:lnTo>
                    <a:pt x="198120" y="145415"/>
                  </a:lnTo>
                  <a:lnTo>
                    <a:pt x="290830" y="92075"/>
                  </a:lnTo>
                  <a:lnTo>
                    <a:pt x="132080" y="39370"/>
                  </a:lnTo>
                  <a:lnTo>
                    <a:pt x="172085" y="66040"/>
                  </a:lnTo>
                  <a:close/>
                </a:path>
              </a:pathLst>
            </a:custGeom>
            <a:solidFill>
              <a:schemeClr val="accent1"/>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grpSp>
      <p:grpSp>
        <p:nvGrpSpPr>
          <p:cNvPr id="83" name="组合 82"/>
          <p:cNvGrpSpPr/>
          <p:nvPr/>
        </p:nvGrpSpPr>
        <p:grpSpPr>
          <a:xfrm>
            <a:off x="8499475" y="4298950"/>
            <a:ext cx="1612900" cy="1177290"/>
            <a:chOff x="13385" y="6770"/>
            <a:chExt cx="2540" cy="1854"/>
          </a:xfrm>
          <a:solidFill>
            <a:schemeClr val="tx1">
              <a:lumMod val="65000"/>
              <a:lumOff val="35000"/>
            </a:schemeClr>
          </a:solidFill>
        </p:grpSpPr>
        <p:sp>
          <p:nvSpPr>
            <p:cNvPr id="81" name="任意多边形 80"/>
            <p:cNvSpPr/>
            <p:nvPr>
              <p:custDataLst>
                <p:tags r:id="rId43"/>
              </p:custDataLst>
            </p:nvPr>
          </p:nvSpPr>
          <p:spPr>
            <a:xfrm>
              <a:off x="13385" y="6770"/>
              <a:ext cx="2541" cy="1104"/>
            </a:xfrm>
            <a:custGeom>
              <a:avLst/>
              <a:gdLst>
                <a:gd name="connisteX0" fmla="*/ 0 w 1613535"/>
                <a:gd name="connsiteY0" fmla="*/ 687705 h 701040"/>
                <a:gd name="connisteX1" fmla="*/ 118745 w 1613535"/>
                <a:gd name="connsiteY1" fmla="*/ 661035 h 701040"/>
                <a:gd name="connisteX2" fmla="*/ 753745 w 1613535"/>
                <a:gd name="connsiteY2" fmla="*/ 171450 h 701040"/>
                <a:gd name="connisteX3" fmla="*/ 1428115 w 1613535"/>
                <a:gd name="connsiteY3" fmla="*/ 701040 h 701040"/>
                <a:gd name="connisteX4" fmla="*/ 1613535 w 1613535"/>
                <a:gd name="connsiteY4" fmla="*/ 330200 h 701040"/>
                <a:gd name="connisteX5" fmla="*/ 1137285 w 1613535"/>
                <a:gd name="connsiteY5" fmla="*/ 0 h 701040"/>
                <a:gd name="connisteX6" fmla="*/ 727075 w 1613535"/>
                <a:gd name="connsiteY6" fmla="*/ 198120 h 701040"/>
                <a:gd name="connisteX7" fmla="*/ 0 w 1613535"/>
                <a:gd name="connsiteY7" fmla="*/ 687705 h 701040"/>
              </a:gdLst>
              <a:ahLst/>
              <a:cxnLst>
                <a:cxn ang="0">
                  <a:pos x="connisteX0" y="connsiteY0"/>
                </a:cxn>
                <a:cxn ang="0">
                  <a:pos x="connisteX1" y="connsiteY1"/>
                </a:cxn>
                <a:cxn ang="0">
                  <a:pos x="connisteX2" y="connsiteY2"/>
                </a:cxn>
                <a:cxn ang="0">
                  <a:pos x="connisteX3" y="connsiteY3"/>
                </a:cxn>
                <a:cxn ang="0">
                  <a:pos x="connisteX4" y="connsiteY4"/>
                </a:cxn>
                <a:cxn ang="0">
                  <a:pos x="connisteX5" y="connsiteY5"/>
                </a:cxn>
                <a:cxn ang="0">
                  <a:pos x="connisteX6" y="connsiteY6"/>
                </a:cxn>
                <a:cxn ang="0">
                  <a:pos x="connisteX7" y="connsiteY7"/>
                </a:cxn>
              </a:cxnLst>
              <a:rect l="l" t="t" r="r" b="b"/>
              <a:pathLst>
                <a:path w="1613535" h="701040">
                  <a:moveTo>
                    <a:pt x="0" y="687705"/>
                  </a:moveTo>
                  <a:lnTo>
                    <a:pt x="118745" y="661035"/>
                  </a:lnTo>
                  <a:lnTo>
                    <a:pt x="753745" y="171450"/>
                  </a:lnTo>
                  <a:lnTo>
                    <a:pt x="1428115" y="701040"/>
                  </a:lnTo>
                  <a:lnTo>
                    <a:pt x="1613535" y="330200"/>
                  </a:lnTo>
                  <a:lnTo>
                    <a:pt x="1137285" y="0"/>
                  </a:lnTo>
                  <a:lnTo>
                    <a:pt x="727075" y="198120"/>
                  </a:lnTo>
                  <a:lnTo>
                    <a:pt x="0" y="687705"/>
                  </a:lnTo>
                  <a:close/>
                </a:path>
              </a:pathLst>
            </a:cu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
          <p:nvSpPr>
            <p:cNvPr id="82" name="半闭框 81"/>
            <p:cNvSpPr/>
            <p:nvPr>
              <p:custDataLst>
                <p:tags r:id="rId44"/>
              </p:custDataLst>
            </p:nvPr>
          </p:nvSpPr>
          <p:spPr>
            <a:xfrm>
              <a:off x="14010" y="7540"/>
              <a:ext cx="1041" cy="1084"/>
            </a:xfrm>
            <a:prstGeom prst="halfFrame">
              <a:avLst>
                <a:gd name="adj1" fmla="val 11239"/>
                <a:gd name="adj2" fmla="val 11335"/>
              </a:avLst>
            </a:prstGeom>
            <a:solidFill>
              <a:schemeClr val="dk1">
                <a:lumMod val="65000"/>
                <a:lumOff val="35000"/>
              </a:schemeClr>
            </a:solidFill>
            <a:ln>
              <a:solidFill>
                <a:schemeClr val="dk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dk1"/>
                </a:solidFill>
              </a:endParaRPr>
            </a:p>
          </p:txBody>
        </p:sp>
      </p:grpSp>
      <p:sp>
        <p:nvSpPr>
          <p:cNvPr id="84" name="任意多边形 83"/>
          <p:cNvSpPr/>
          <p:nvPr>
            <p:custDataLst>
              <p:tags r:id="rId45"/>
            </p:custDataLst>
          </p:nvPr>
        </p:nvSpPr>
        <p:spPr>
          <a:xfrm rot="720000">
            <a:off x="9194165" y="4097655"/>
            <a:ext cx="304800" cy="400050"/>
          </a:xfrm>
          <a:custGeom>
            <a:avLst/>
            <a:gdLst>
              <a:gd name="connsiteX0" fmla="*/ 225 w 900"/>
              <a:gd name="connsiteY0" fmla="*/ 1212 h 1255"/>
              <a:gd name="connsiteX1" fmla="*/ 206 w 900"/>
              <a:gd name="connsiteY1" fmla="*/ 767 h 1255"/>
              <a:gd name="connsiteX2" fmla="*/ 881 w 900"/>
              <a:gd name="connsiteY2" fmla="*/ 1068 h 1255"/>
              <a:gd name="connsiteX3" fmla="*/ 300 w 900"/>
              <a:gd name="connsiteY3" fmla="*/ 796 h 1255"/>
              <a:gd name="connsiteX4" fmla="*/ 375 w 900"/>
              <a:gd name="connsiteY4" fmla="*/ 1255 h 1255"/>
              <a:gd name="connsiteX5" fmla="*/ 300 w 900"/>
              <a:gd name="connsiteY5" fmla="*/ 810 h 1255"/>
              <a:gd name="connsiteX6" fmla="*/ 900 w 900"/>
              <a:gd name="connsiteY6" fmla="*/ 1068 h 1255"/>
              <a:gd name="connsiteX7" fmla="*/ 350 w 900"/>
              <a:gd name="connsiteY7" fmla="*/ 334 h 1255"/>
              <a:gd name="connsiteX8" fmla="*/ 487 w 900"/>
              <a:gd name="connsiteY8" fmla="*/ 259 h 1255"/>
              <a:gd name="connsiteX9" fmla="*/ 459 w 900"/>
              <a:gd name="connsiteY9" fmla="*/ 116 h 1255"/>
              <a:gd name="connsiteX10" fmla="*/ 364 w 900"/>
              <a:gd name="connsiteY10" fmla="*/ 20 h 1255"/>
              <a:gd name="connsiteX11" fmla="*/ 207 w 900"/>
              <a:gd name="connsiteY11" fmla="*/ 0 h 1255"/>
              <a:gd name="connsiteX12" fmla="*/ 78 w 900"/>
              <a:gd name="connsiteY12" fmla="*/ 34 h 1255"/>
              <a:gd name="connsiteX13" fmla="*/ 0 w 900"/>
              <a:gd name="connsiteY13" fmla="*/ 193 h 1255"/>
              <a:gd name="connsiteX14" fmla="*/ 56 w 900"/>
              <a:gd name="connsiteY14" fmla="*/ 365 h 1255"/>
              <a:gd name="connsiteX15" fmla="*/ 207 w 900"/>
              <a:gd name="connsiteY15" fmla="*/ 389 h 1255"/>
              <a:gd name="connsiteX16" fmla="*/ 319 w 900"/>
              <a:gd name="connsiteY16" fmla="*/ 351 h 1255"/>
              <a:gd name="connsiteX17" fmla="*/ 563 w 900"/>
              <a:gd name="connsiteY17" fmla="*/ 652 h 1255"/>
              <a:gd name="connsiteX18" fmla="*/ 863 w 900"/>
              <a:gd name="connsiteY18" fmla="*/ 422 h 1255"/>
              <a:gd name="connsiteX19" fmla="*/ 413 w 900"/>
              <a:gd name="connsiteY19" fmla="*/ 35 h 1255"/>
              <a:gd name="connsiteX20" fmla="*/ 825 w 900"/>
              <a:gd name="connsiteY20" fmla="*/ 437 h 1255"/>
              <a:gd name="connsiteX21" fmla="*/ 600 w 900"/>
              <a:gd name="connsiteY21" fmla="*/ 652 h 1255"/>
              <a:gd name="connsiteX22" fmla="*/ 169 w 900"/>
              <a:gd name="connsiteY22" fmla="*/ 624 h 1255"/>
              <a:gd name="connsiteX23" fmla="*/ 19 w 900"/>
              <a:gd name="connsiteY23" fmla="*/ 222 h 1255"/>
              <a:gd name="connsiteX24" fmla="*/ 150 w 900"/>
              <a:gd name="connsiteY24" fmla="*/ 681 h 1255"/>
              <a:gd name="connsiteX25" fmla="*/ 563 w 900"/>
              <a:gd name="connsiteY25" fmla="*/ 638 h 1255"/>
              <a:gd name="connsiteX26" fmla="*/ 844 w 900"/>
              <a:gd name="connsiteY26" fmla="*/ 1068 h 1255"/>
              <a:gd name="connsiteX27" fmla="*/ 263 w 900"/>
              <a:gd name="connsiteY27" fmla="*/ 767 h 1255"/>
              <a:gd name="connsiteX28" fmla="*/ 206 w 900"/>
              <a:gd name="connsiteY28" fmla="*/ 767 h 1255"/>
              <a:gd name="connsiteX29" fmla="*/ 225 w 900"/>
              <a:gd name="connsiteY29" fmla="*/ 1212 h 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900" h="1255">
                <a:moveTo>
                  <a:pt x="225" y="1212"/>
                </a:moveTo>
                <a:lnTo>
                  <a:pt x="206" y="767"/>
                </a:lnTo>
                <a:lnTo>
                  <a:pt x="881" y="1068"/>
                </a:lnTo>
                <a:lnTo>
                  <a:pt x="300" y="796"/>
                </a:lnTo>
                <a:lnTo>
                  <a:pt x="375" y="1255"/>
                </a:lnTo>
                <a:lnTo>
                  <a:pt x="300" y="810"/>
                </a:lnTo>
                <a:lnTo>
                  <a:pt x="900" y="1068"/>
                </a:lnTo>
                <a:lnTo>
                  <a:pt x="350" y="334"/>
                </a:lnTo>
                <a:lnTo>
                  <a:pt x="487" y="259"/>
                </a:lnTo>
                <a:lnTo>
                  <a:pt x="459" y="116"/>
                </a:lnTo>
                <a:lnTo>
                  <a:pt x="364" y="20"/>
                </a:lnTo>
                <a:lnTo>
                  <a:pt x="207" y="0"/>
                </a:lnTo>
                <a:lnTo>
                  <a:pt x="78" y="34"/>
                </a:lnTo>
                <a:lnTo>
                  <a:pt x="0" y="193"/>
                </a:lnTo>
                <a:lnTo>
                  <a:pt x="56" y="365"/>
                </a:lnTo>
                <a:lnTo>
                  <a:pt x="207" y="389"/>
                </a:lnTo>
                <a:lnTo>
                  <a:pt x="319" y="351"/>
                </a:lnTo>
                <a:lnTo>
                  <a:pt x="563" y="652"/>
                </a:lnTo>
                <a:lnTo>
                  <a:pt x="863" y="422"/>
                </a:lnTo>
                <a:lnTo>
                  <a:pt x="413" y="35"/>
                </a:lnTo>
                <a:lnTo>
                  <a:pt x="825" y="437"/>
                </a:lnTo>
                <a:lnTo>
                  <a:pt x="600" y="652"/>
                </a:lnTo>
                <a:lnTo>
                  <a:pt x="169" y="624"/>
                </a:lnTo>
                <a:lnTo>
                  <a:pt x="19" y="222"/>
                </a:lnTo>
                <a:lnTo>
                  <a:pt x="150" y="681"/>
                </a:lnTo>
                <a:lnTo>
                  <a:pt x="563" y="638"/>
                </a:lnTo>
                <a:lnTo>
                  <a:pt x="844" y="1068"/>
                </a:lnTo>
                <a:lnTo>
                  <a:pt x="263" y="767"/>
                </a:lnTo>
                <a:lnTo>
                  <a:pt x="206" y="767"/>
                </a:lnTo>
                <a:lnTo>
                  <a:pt x="225" y="1212"/>
                </a:lnTo>
                <a:close/>
              </a:path>
            </a:pathLst>
          </a:custGeom>
          <a:solidFill>
            <a:schemeClr val="accent4">
              <a:lumMod val="75000"/>
            </a:schemeClr>
          </a:solidFill>
          <a:ln w="952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endParaRPr>
          </a:p>
        </p:txBody>
      </p:sp>
    </p:spTree>
    <p:custDataLst>
      <p:tags r:id="rId46"/>
    </p:custDataLst>
  </p:cSld>
  <p:clrMapOvr>
    <a:masterClrMapping/>
  </p:clrMapOvr>
  <p:transition spd="slow">
    <p:fade/>
  </p:transition>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1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1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1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2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29.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30.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131.xml><?xml version="1.0" encoding="utf-8"?>
<p:tagLst xmlns:p="http://schemas.openxmlformats.org/presentationml/2006/main">
  <p:tag name="KSO_WM_UNIT_FILL_FORE_SCHEMECOLOR_INDEX_BRIGHTNESS" val="-0.7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2.xml><?xml version="1.0" encoding="utf-8"?>
<p:tagLst xmlns:p="http://schemas.openxmlformats.org/presentationml/2006/main">
  <p:tag name="KSO_WM_UNIT_FILL_FORE_SCHEMECOLOR_INDEX_BRIGHTNESS" val="-0.7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3.xml><?xml version="1.0" encoding="utf-8"?>
<p:tagLst xmlns:p="http://schemas.openxmlformats.org/presentationml/2006/main">
  <p:tag name="KSO_WM_UNIT_FILL_FORE_SCHEMECOLOR_INDEX_BRIGHTNESS" val="-0.2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134.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35.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6.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7.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8.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15"/>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139.xml><?xml version="1.0" encoding="utf-8"?>
<p:tagLst xmlns:p="http://schemas.openxmlformats.org/presentationml/2006/main">
  <p:tag name="KSO_WM_UNIT_FILL_FORE_SCHEMECOLOR_INDEX_BRIGHTNESS" val="-0.5"/>
  <p:tag name="KSO_WM_UNIT_FILL_FORE_SCHEMECOLOR_INDEX" val="10"/>
  <p:tag name="KSO_WM_UNIT_FILL_TYPE" val="1"/>
  <p:tag name="KSO_WM_UNIT_LINE_FORE_SCHEMECOLOR_INDEX_BRIGHTNESS" val="-0.5"/>
  <p:tag name="KSO_WM_UNIT_LINE_FORE_SCHEMECOLOR_INDEX" val="10"/>
  <p:tag name="KSO_WM_UNIT_LINE_FILL_TYPE" val="2"/>
  <p:tag name="KSO_WM_UNIT_TEXT_FILL_FORE_SCHEMECOLOR_INDEX_BRIGHTNESS" val="0"/>
  <p:tag name="KSO_WM_UNIT_TEXT_FILL_FORE_SCHEMECOLOR_INDEX" val="2"/>
  <p:tag name="KSO_WM_UNIT_TEXT_FILL_TYPE" val="1"/>
</p:tagLst>
</file>

<file path=ppt/tags/tag1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1.0"/>
  <p:tag name="KSO_WM_BEAUTIFY_FLAG" val="#wm#"/>
</p:tagLst>
</file>

<file path=ppt/tags/tag140.xml><?xml version="1.0" encoding="utf-8"?>
<p:tagLst xmlns:p="http://schemas.openxmlformats.org/presentationml/2006/main">
  <p:tag name="KSO_WM_UNIT_FILL_FORE_SCHEMECOLOR_INDEX_BRIGHTNESS" val="-0.5"/>
  <p:tag name="KSO_WM_UNIT_FILL_FORE_SCHEMECOLOR_INDEX" val="8"/>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41.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2.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14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4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5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51.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2.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3.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4.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5.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6.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7.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5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5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6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6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1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7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7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173.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4.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5.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6.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7.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8.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79.xml><?xml version="1.0" encoding="utf-8"?>
<p:tagLst xmlns:p="http://schemas.openxmlformats.org/presentationml/2006/main">
  <p:tag name="KSO_WM_UNIT_FILL_FORE_SCHEMECOLOR_INDEX_BRIGHTNESS" val="-0.1"/>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1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8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8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1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1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2**"/>
  <p:tag name="KSO_WM_UNIT_LAYERLEVEL" val="1"/>
  <p:tag name="KSO_WM_TAG_VERSION" val="1.0"/>
  <p:tag name="KSO_WM_BEAUTIFY_FLAG" val="#wm#"/>
</p:tagLst>
</file>

<file path=ppt/tags/tag190.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13"/>
  <p:tag name="KSO_WM_UNIT_TEXT_FILL_TYPE" val="1"/>
</p:tagLst>
</file>

<file path=ppt/tags/tag191.xml><?xml version="1.0" encoding="utf-8"?>
<p:tagLst xmlns:p="http://schemas.openxmlformats.org/presentationml/2006/main">
  <p:tag name="KSO_WM_UNIT_FILL_FORE_SCHEMECOLOR_INDEX_BRIGHTNESS" val="-0.2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2.xml><?xml version="1.0" encoding="utf-8"?>
<p:tagLst xmlns:p="http://schemas.openxmlformats.org/presentationml/2006/main">
  <p:tag name="KSO_WM_UNIT_FILL_FORE_SCHEMECOLOR_INDEX_BRIGHTNESS" val="-0.2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193.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4.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5.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6.xml><?xml version="1.0" encoding="utf-8"?>
<p:tagLst xmlns:p="http://schemas.openxmlformats.org/presentationml/2006/main">
  <p:tag name="KSO_WM_UNIT_FILL_FORE_SCHEMECOLOR_INDEX_BRIGHTNESS" val="-0.05"/>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7.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8.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199.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0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2.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3.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4.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0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0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0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0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1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1.xml><?xml version="1.0" encoding="utf-8"?>
<p:tagLst xmlns:p="http://schemas.openxmlformats.org/presentationml/2006/main">
  <p:tag name="KSO_WM_UNIT_FILL_FORE_SCHEMECOLOR_INDEX_BRIGHTNESS" val="-0.25"/>
  <p:tag name="KSO_WM_UNIT_FILL_FORE_SCHEMECOLOR_INDEX" val="8"/>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1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3.xml><?xml version="1.0" encoding="utf-8"?>
<p:tagLst xmlns:p="http://schemas.openxmlformats.org/presentationml/2006/main">
  <p:tag name="KSO_WM_UNIT_FILL_FORE_SCHEMECOLOR_INDEX_BRIGHTNESS" val="-0.35"/>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14.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5.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6.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7.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8.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19.xml><?xml version="1.0" encoding="utf-8"?>
<p:tagLst xmlns:p="http://schemas.openxmlformats.org/presentationml/2006/main">
  <p:tag name="KSO_WM_UNIT_LINE_FORE_SCHEMECOLOR_INDEX_BRIGHTNESS" val="-0.05"/>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2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20.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21.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2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2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2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2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3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3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3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33.xml><?xml version="1.0" encoding="utf-8"?>
<p:tagLst xmlns:p="http://schemas.openxmlformats.org/presentationml/2006/main">
  <p:tag name="KSO_WM_UNIT_FILL_FORE_SCHEMECOLOR_INDEX_BRIGHTNESS" val="-0.25"/>
  <p:tag name="KSO_WM_UNIT_FILL_FORE_SCHEMECOLOR_INDEX" val="8"/>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23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35.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36.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37.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38.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239.xml><?xml version="1.0" encoding="utf-8"?>
<p:tagLst xmlns:p="http://schemas.openxmlformats.org/presentationml/2006/main">
  <p:tag name="KSO_WM_UNIT_FILL_FORE_SCHEMECOLOR_INDEX_BRIGHTNESS" val="-0.15"/>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3**"/>
  <p:tag name="KSO_WM_UNIT_LAYERLEVEL" val="1"/>
  <p:tag name="KSO_WM_TAG_VERSION" val="1.0"/>
  <p:tag name="KSO_WM_BEAUTIFY_FLAG" val="#wm#"/>
</p:tagLst>
</file>

<file path=ppt/tags/tag24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4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242.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43.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44.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13"/>
  <p:tag name="KSO_WM_UNIT_TEXT_FILL_TYPE" val="1"/>
</p:tagLst>
</file>

<file path=ppt/tags/tag24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247.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48.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49.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50.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25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59.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2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7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7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7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8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8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2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29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2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2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29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3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4**"/>
  <p:tag name="KSO_WM_UNIT_LAYERLEVEL" val="1"/>
  <p:tag name="KSO_WM_TAG_VERSION" val="1.0"/>
  <p:tag name="KSO_WM_BEAUTIFY_FLAG" val="#wm#"/>
</p:tagLst>
</file>

<file path=ppt/tags/tag300.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8.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09.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1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5.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TEXT_FILL_FORE_SCHEMECOLOR_INDEX_BRIGHTNESS" val="0"/>
  <p:tag name="KSO_WM_UNIT_TEXT_FILL_FORE_SCHEMECOLOR_INDEX" val="2"/>
  <p:tag name="KSO_WM_UNIT_TEXT_FILL_TYPE" val="1"/>
</p:tagLst>
</file>

<file path=ppt/tags/tag316.xml><?xml version="1.0" encoding="utf-8"?>
<p:tagLst xmlns:p="http://schemas.openxmlformats.org/presentationml/2006/main">
  <p:tag name="KSO_WM_UNIT_FILL_FORE_SCHEMECOLOR_INDEX_BRIGHTNESS" val="-0.25"/>
  <p:tag name="KSO_WM_UNIT_FILL_FORE_SCHEMECOLOR_INDEX" val="8"/>
  <p:tag name="KSO_WM_UNIT_FILL_TYPE" val="1"/>
  <p:tag name="KSO_WM_UNIT_LINE_FORE_SCHEMECOLOR_INDEX_BRIGHTNESS" val="0"/>
  <p:tag name="KSO_WM_UNIT_LINE_FORE_SCHEMECOLOR_INDEX" val="14"/>
  <p:tag name="KSO_WM_UNIT_LINE_FILL_TYPE" val="2"/>
  <p:tag name="KSO_WM_UNIT_TEXT_FILL_FORE_SCHEMECOLOR_INDEX_BRIGHTNESS" val="0"/>
  <p:tag name="KSO_WM_UNIT_TEXT_FILL_FORE_SCHEMECOLOR_INDEX" val="2"/>
  <p:tag name="KSO_WM_UNIT_TEXT_FILL_TYPE" val="1"/>
</p:tagLst>
</file>

<file path=ppt/tags/tag31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1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20.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1.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7.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8.xml><?xml version="1.0" encoding="utf-8"?>
<p:tagLst xmlns:p="http://schemas.openxmlformats.org/presentationml/2006/main">
  <p:tag name="KSO_WM_UNIT_FILL_FORE_SCHEMECOLOR_INDEX_BRIGHTNESS" val="-0.5"/>
  <p:tag name="KSO_WM_UNIT_FILL_FORE_SCHEMECOLOR_INDEX" val="1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29.xml><?xml version="1.0" encoding="utf-8"?>
<p:tagLst xmlns:p="http://schemas.openxmlformats.org/presentationml/2006/main">
  <p:tag name="KSO_WM_UNIT_FILL_FORE_SCHEMECOLOR_INDEX_BRIGHTNESS" val="-0.5"/>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30.xml><?xml version="1.0" encoding="utf-8"?>
<p:tagLst xmlns:p="http://schemas.openxmlformats.org/presentationml/2006/main">
  <p:tag name="KSO_WM_UNIT_FILL_FORE_SCHEMECOLOR_INDEX_BRIGHTNESS" val="-0.5"/>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1.xml><?xml version="1.0" encoding="utf-8"?>
<p:tagLst xmlns:p="http://schemas.openxmlformats.org/presentationml/2006/main">
  <p:tag name="KSO_WM_UNIT_FILL_FORE_SCHEMECOLOR_INDEX_BRIGHTNESS" val="-0.5"/>
  <p:tag name="KSO_WM_UNIT_FILL_FORE_SCHEMECOLOR_INDEX" val="6"/>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33.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34.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13"/>
  <p:tag name="KSO_WM_UNIT_TEXT_FILL_TYPE" val="1"/>
</p:tagLst>
</file>

<file path=ppt/tags/tag335.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33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33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3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4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42.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3.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4.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5.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7.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8.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49.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50.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7.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358.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59.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6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2.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4.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5.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6.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7.xml><?xml version="1.0" encoding="utf-8"?>
<p:tagLst xmlns:p="http://schemas.openxmlformats.org/presentationml/2006/main">
  <p:tag name="KSO_WM_UNIT_LINE_FORE_SCHEMECOLOR_INDEX_BRIGHTNESS" val="0.5"/>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36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6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7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372.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73.xml><?xml version="1.0" encoding="utf-8"?>
<p:tagLst xmlns:p="http://schemas.openxmlformats.org/presentationml/2006/main">
  <p:tag name="KSO_WM_UNIT_FILL_FORE_SCHEMECOLOR_INDEX_BRIGHTNESS" val="-0.25"/>
  <p:tag name="KSO_WM_UNIT_FILL_FORE_SCHEMECOLOR_INDEX" val="6"/>
  <p:tag name="KSO_WM_UNIT_FILL_TYPE" val="1"/>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3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7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79.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5**"/>
  <p:tag name="KSO_WM_UNIT_LAYERLEVEL" val="1"/>
  <p:tag name="KSO_WM_TAG_VERSION" val="1.0"/>
  <p:tag name="KSO_WM_BEAUTIFY_FLAG" val="#wm#"/>
</p:tagLst>
</file>

<file path=ppt/tags/tag380.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1.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2.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3.xml><?xml version="1.0" encoding="utf-8"?>
<p:tagLst xmlns:p="http://schemas.openxmlformats.org/presentationml/2006/main">
  <p:tag name="KSO_WM_UNIT_FILL_FORE_SCHEMECOLOR_INDEX_BRIGHTNESS" val="0.5"/>
  <p:tag name="KSO_WM_UNIT_FILL_FORE_SCHEMECOLOR_INDEX" val="13"/>
  <p:tag name="KSO_WM_UNIT_FILL_TYPE" val="1"/>
  <p:tag name="KSO_WM_UNIT_TEXT_FILL_FORE_SCHEMECOLOR_INDEX_BRIGHTNESS" val="0"/>
  <p:tag name="KSO_WM_UNIT_TEXT_FILL_FORE_SCHEMECOLOR_INDEX" val="2"/>
  <p:tag name="KSO_WM_UNIT_TEXT_FILL_TYPE" val="1"/>
</p:tagLst>
</file>

<file path=ppt/tags/tag38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8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8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3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39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9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3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399.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0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0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1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5.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6.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7.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18.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1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6**"/>
  <p:tag name="KSO_WM_UNIT_LAYERLEVEL" val="1"/>
  <p:tag name="KSO_WM_TAG_VERSION" val="1.0"/>
  <p:tag name="KSO_WM_BEAUTIFY_FLAG" val="#wm#"/>
</p:tagLst>
</file>

<file path=ppt/tags/tag42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2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2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3.xml><?xml version="1.0" encoding="utf-8"?>
<p:tagLst xmlns:p="http://schemas.openxmlformats.org/presentationml/2006/main">
  <p:tag name="KSO_WM_BEAUTIFY_FLAG" val=""/>
</p:tagLst>
</file>

<file path=ppt/tags/tag430.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31.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32.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33.xml><?xml version="1.0" encoding="utf-8"?>
<p:tagLst xmlns:p="http://schemas.openxmlformats.org/presentationml/2006/main">
  <p:tag name="KSO_WM_UNIT_FILL_FORE_SCHEMECOLOR_INDEX_BRIGHTNESS" val="0.8"/>
  <p:tag name="KSO_WM_UNIT_FILL_FORE_SCHEMECOLOR_INDEX" val="15"/>
  <p:tag name="KSO_WM_UNIT_FILL_TYPE" val="1"/>
  <p:tag name="KSO_WM_UNIT_LINE_FORE_SCHEMECOLOR_INDEX_BRIGHTNESS" val="-0.2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434.xml><?xml version="1.0" encoding="utf-8"?>
<p:tagLst xmlns:p="http://schemas.openxmlformats.org/presentationml/2006/main">
  <p:tag name="KSO_WM_UNIT_FILL_FORE_SCHEMECOLOR_INDEX_BRIGHTNESS" val="0.8"/>
  <p:tag name="KSO_WM_UNIT_FILL_FORE_SCHEMECOLOR_INDEX" val="15"/>
  <p:tag name="KSO_WM_UNIT_FILL_TYPE" val="1"/>
  <p:tag name="KSO_WM_UNIT_LINE_FORE_SCHEMECOLOR_INDEX_BRIGHTNESS" val="-0.2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435.xml><?xml version="1.0" encoding="utf-8"?>
<p:tagLst xmlns:p="http://schemas.openxmlformats.org/presentationml/2006/main">
  <p:tag name="KSO_WM_UNIT_FILL_FORE_SCHEMECOLOR_INDEX_BRIGHTNESS" val="0.6"/>
  <p:tag name="KSO_WM_UNIT_FILL_FORE_SCHEMECOLOR_INDEX" val="15"/>
  <p:tag name="KSO_WM_UNIT_FILL_TYPE" val="1"/>
  <p:tag name="KSO_WM_UNIT_LINE_FORE_SCHEMECOLOR_INDEX_BRIGHTNESS" val="-0.2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436.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3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3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46.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47.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48.xml><?xml version="1.0" encoding="utf-8"?>
<p:tagLst xmlns:p="http://schemas.openxmlformats.org/presentationml/2006/main">
  <p:tag name="KSO_WM_UNIT_FILL_FORE_SCHEMECOLOR_INDEX_BRIGHTNESS" val="0"/>
  <p:tag name="KSO_WM_UNIT_FILL_FORE_SCHEMECOLOR_INDEX" val="5"/>
  <p:tag name="KSO_WM_UNIT_FILL_TYPE" val="1"/>
  <p:tag name="KSO_WM_UNIT_TEXT_FILL_FORE_SCHEMECOLOR_INDEX_BRIGHTNESS" val="0"/>
  <p:tag name="KSO_WM_UNIT_TEXT_FILL_FORE_SCHEMECOLOR_INDEX" val="2"/>
  <p:tag name="KSO_WM_UNIT_TEXT_FILL_TYPE" val="1"/>
</p:tagLst>
</file>

<file path=ppt/tags/tag449.xml><?xml version="1.0" encoding="utf-8"?>
<p:tagLst xmlns:p="http://schemas.openxmlformats.org/presentationml/2006/main">
  <p:tag name="KSO_WM_UNIT_FILL_FORE_SCHEMECOLOR_INDEX_BRIGHTNESS" val="-0.25"/>
  <p:tag name="KSO_WM_UNIT_FILL_FORE_SCHEMECOLOR_INDEX" val="8"/>
  <p:tag name="KSO_WM_UNIT_FILL_TYPE" val="1"/>
  <p:tag name="KSO_WM_UNIT_TEXT_FILL_FORE_SCHEMECOLOR_INDEX_BRIGHTNESS" val="0"/>
  <p:tag name="KSO_WM_UNIT_TEXT_FILL_FORE_SCHEMECOLOR_INDEX" val="2"/>
  <p:tag name="KSO_WM_UNIT_TEXT_FILL_TYPE" val="1"/>
</p:tagLst>
</file>

<file path=ppt/tags/tag4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50.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1.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2.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3.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4.xml><?xml version="1.0" encoding="utf-8"?>
<p:tagLst xmlns:p="http://schemas.openxmlformats.org/presentationml/2006/main">
  <p:tag name="KSO_WM_UNIT_FILL_FORE_SCHEMECOLOR_INDEX_BRIGHTNESS" val="0"/>
  <p:tag name="KSO_WM_UNIT_FILL_FORE_SCHEMECOLOR_INDEX" val="5"/>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5.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56.xml><?xml version="1.0" encoding="utf-8"?>
<p:tagLst xmlns:p="http://schemas.openxmlformats.org/presentationml/2006/main">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45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5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1.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2.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3.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4.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475.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8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8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8**"/>
  <p:tag name="KSO_WM_UNIT_LAYERLEVEL" val="1"/>
  <p:tag name="KSO_WM_TAG_VERSION" val="1.0"/>
  <p:tag name="KSO_WM_BEAUTIFY_FLAG" val="#wm#"/>
</p:tagLst>
</file>

<file path=ppt/tags/tag49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49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4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49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0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1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12.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13.xml><?xml version="1.0" encoding="utf-8"?>
<p:tagLst xmlns:p="http://schemas.openxmlformats.org/presentationml/2006/main">
  <p:tag name="KSO_WM_UNIT_LINE_FORE_SCHEMECOLOR_INDEX_BRIGHTNESS" val="0"/>
  <p:tag name="KSO_WM_UNIT_LINE_FORE_SCHEMECOLOR_INDEX" val="14"/>
  <p:tag name="KSO_WM_UNIT_LINE_FILL_TYPE" val="2"/>
</p:tagLst>
</file>

<file path=ppt/tags/tag51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9**"/>
  <p:tag name="KSO_WM_UNIT_LAYERLEVEL" val="1"/>
  <p:tag name="KSO_WM_TAG_VERSION" val="1.0"/>
  <p:tag name="KSO_WM_BEAUTIFY_FLAG" val="#wm#"/>
</p:tagLst>
</file>

<file path=ppt/tags/tag52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25.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26.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27.xml><?xml version="1.0" encoding="utf-8"?>
<p:tagLst xmlns:p="http://schemas.openxmlformats.org/presentationml/2006/main">
  <p:tag name="KSO_WM_UNIT_FILL_FORE_SCHEMECOLOR_INDEX_BRIGHTNESS" val="0.35"/>
  <p:tag name="KSO_WM_UNIT_FILL_FORE_SCHEMECOLOR_INDEX" val="13"/>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528.xml><?xml version="1.0" encoding="utf-8"?>
<p:tagLst xmlns:p="http://schemas.openxmlformats.org/presentationml/2006/main">
  <p:tag name="KSO_WM_UNIT_FILL_FORE_SCHEMECOLOR_INDEX_BRIGHTNESS" val="0.5"/>
  <p:tag name="KSO_WM_UNIT_FILL_FORE_SCHEMECOLOR_INDEX" val="13"/>
  <p:tag name="KSO_WM_UNIT_FILL_TYPE" val="1"/>
  <p:tag name="KSO_WM_UNIT_LINE_FORE_SCHEMECOLOR_INDEX_BRIGHTNESS" val="-0.5"/>
  <p:tag name="KSO_WM_UNIT_LINE_FORE_SCHEMECOLOR_INDEX" val="16"/>
  <p:tag name="KSO_WM_UNIT_LINE_FILL_TYPE" val="2"/>
  <p:tag name="KSO_WM_UNIT_TEXT_FILL_FORE_SCHEMECOLOR_INDEX_BRIGHTNESS" val="0"/>
  <p:tag name="KSO_WM_UNIT_TEXT_FILL_FORE_SCHEMECOLOR_INDEX" val="2"/>
  <p:tag name="KSO_WM_UNIT_TEXT_FILL_TYPE" val="1"/>
</p:tagLst>
</file>

<file path=ppt/tags/tag529.xml><?xml version="1.0" encoding="utf-8"?>
<p:tagLst xmlns:p="http://schemas.openxmlformats.org/presentationml/2006/main">
  <p:tag name="KSO_WM_UNIT_FILL_FORE_SCHEMECOLOR_INDEX_BRIGHTNESS" val="-0.15"/>
  <p:tag name="KSO_WM_UNIT_FILL_FORE_SCHEMECOLOR_INDEX" val="14"/>
  <p:tag name="KSO_WM_UNIT_FILL_TYPE" val="1"/>
  <p:tag name="KSO_WM_UNIT_LINE_FORE_SCHEMECOLOR_INDEX_BRIGHTNESS" val="0"/>
  <p:tag name="KSO_WM_UNIT_LINE_FORE_SCHEMECOLOR_INDEX" val="5"/>
  <p:tag name="KSO_WM_UNIT_LINE_FILL_TYPE" val="2"/>
  <p:tag name="KSO_WM_UNIT_TEXT_FILL_FORE_SCHEMECOLOR_INDEX_BRIGHTNESS" val="0"/>
  <p:tag name="KSO_WM_UNIT_TEXT_FILL_FORE_SCHEMECOLOR_INDEX" val="2"/>
  <p:tag name="KSO_WM_UNIT_TEXT_FILL_TYPE" val="1"/>
</p:tagLst>
</file>

<file path=ppt/tags/tag53.xml><?xml version="1.0" encoding="utf-8"?>
<p:tagLst xmlns:p="http://schemas.openxmlformats.org/presentationml/2006/main">
  <p:tag name="KSO_WM_BEAUTIFY_FLAG" val=""/>
</p:tagLst>
</file>

<file path=ppt/tags/tag530.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531.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2"/>
  <p:tag name="KSO_WM_UNIT_TEXT_FILL_TYPE" val="1"/>
</p:tagLst>
</file>

<file path=ppt/tags/tag532.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33.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34.xml><?xml version="1.0" encoding="utf-8"?>
<p:tagLst xmlns:p="http://schemas.openxmlformats.org/presentationml/2006/main">
  <p:tag name="KSO_WM_UNIT_FILL_FORE_SCHEMECOLOR_INDEX_BRIGHTNESS" val="-0.75"/>
  <p:tag name="KSO_WM_UNIT_FILL_FORE_SCHEMECOLOR_INDEX" val="16"/>
  <p:tag name="KSO_WM_UNIT_FILL_TYPE" val="1"/>
  <p:tag name="KSO_WM_UNIT_TEXT_FILL_FORE_SCHEMECOLOR_INDEX_BRIGHTNESS" val="0"/>
  <p:tag name="KSO_WM_UNIT_TEXT_FILL_FORE_SCHEMECOLOR_INDEX" val="13"/>
  <p:tag name="KSO_WM_UNIT_TEXT_FILL_TYPE" val="1"/>
</p:tagLst>
</file>

<file path=ppt/tags/tag535.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536.xml><?xml version="1.0" encoding="utf-8"?>
<p:tagLst xmlns:p="http://schemas.openxmlformats.org/presentationml/2006/main">
  <p:tag name="KSO_WM_UNIT_FILL_FORE_SCHEMECOLOR_INDEX_BRIGHTNESS" val="0"/>
  <p:tag name="KSO_WM_UNIT_FILL_FORE_SCHEMECOLOR_INDEX" val="14"/>
  <p:tag name="KSO_WM_UNIT_FILL_TYPE" val="1"/>
  <p:tag name="KSO_WM_UNIT_TEXT_FILL_FORE_SCHEMECOLOR_INDEX_BRIGHTNESS" val="0"/>
  <p:tag name="KSO_WM_UNIT_TEXT_FILL_FORE_SCHEMECOLOR_INDEX" val="13"/>
  <p:tag name="KSO_WM_UNIT_TEXT_FILL_TYPE" val="1"/>
</p:tagLst>
</file>

<file path=ppt/tags/tag537.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38.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39.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40.xml><?xml version="1.0" encoding="utf-8"?>
<p:tagLst xmlns:p="http://schemas.openxmlformats.org/presentationml/2006/main">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541.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4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4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4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4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5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5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5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6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6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6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0**"/>
  <p:tag name="KSO_WM_UNIT_LAYERLEVEL" val="1"/>
  <p:tag name="KSO_WM_TAG_VERSION" val="1.0"/>
  <p:tag name="KSO_WM_BEAUTIFY_FLAG" val="#wm#"/>
</p:tagLst>
</file>

<file path=ppt/tags/tag570.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1.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2.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8.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79.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80.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1.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582.xml><?xml version="1.0" encoding="utf-8"?>
<p:tagLst xmlns:p="http://schemas.openxmlformats.org/presentationml/2006/main">
  <p:tag name="KSO_WM_UNIT_FILL_FORE_SCHEMECOLOR_INDEX_BRIGHTNESS" val="-0.5"/>
  <p:tag name="KSO_WM_UNIT_FILL_FORE_SCHEMECOLOR_INDEX" val="6"/>
  <p:tag name="KSO_WM_UNIT_FILL_TYPE" val="1"/>
  <p:tag name="KSO_WM_UNIT_TEXT_FILL_FORE_SCHEMECOLOR_INDEX_BRIGHTNESS" val="0"/>
  <p:tag name="KSO_WM_UNIT_TEXT_FILL_FORE_SCHEMECOLOR_INDEX" val="2"/>
  <p:tag name="KSO_WM_UNIT_TEXT_FILL_TYPE" val="1"/>
</p:tagLst>
</file>

<file path=ppt/tags/tag583.xml><?xml version="1.0" encoding="utf-8"?>
<p:tagLst xmlns:p="http://schemas.openxmlformats.org/presentationml/2006/main">
  <p:tag name="KSO_WM_UNIT_FILL_FORE_SCHEMECOLOR_INDEX_BRIGHTNESS" val="-0.5"/>
  <p:tag name="KSO_WM_UNIT_FILL_FORE_SCHEMECOLOR_INDEX" val="6"/>
  <p:tag name="KSO_WM_UNIT_FILL_TYPE" val="1"/>
  <p:tag name="KSO_WM_UNIT_TEXT_FILL_FORE_SCHEMECOLOR_INDEX_BRIGHTNESS" val="0"/>
  <p:tag name="KSO_WM_UNIT_TEXT_FILL_FORE_SCHEMECOLOR_INDEX" val="13"/>
  <p:tag name="KSO_WM_UNIT_TEXT_FILL_TYPE" val="1"/>
</p:tagLst>
</file>

<file path=ppt/tags/tag58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8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9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59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59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59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0.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0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0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1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1.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1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1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1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2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2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2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29.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3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3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 name="KSO_WM_TEMPLATE_CATEGORY" val="custom"/>
  <p:tag name="KSO_WM_TEMPLATE_INDEX" val="20205081"/>
</p:tagLst>
</file>

<file path=ppt/tags/tag64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41.xml><?xml version="1.0" encoding="utf-8"?>
<p:tagLst xmlns:p="http://schemas.openxmlformats.org/presentationml/2006/main">
  <p:tag name="KSO_WM_UNIT_FILL_FORE_SCHEMECOLOR_INDEX_BRIGHTNESS" val="-0.2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2.xml><?xml version="1.0" encoding="utf-8"?>
<p:tagLst xmlns:p="http://schemas.openxmlformats.org/presentationml/2006/main">
  <p:tag name="KSO_WM_UNIT_FILL_FORE_SCHEMECOLOR_INDEX_BRIGHTNESS" val="-0.5"/>
  <p:tag name="KSO_WM_UNIT_FILL_FORE_SCHEMECOLOR_INDEX" val="6"/>
  <p:tag name="KSO_WM_UNIT_FILL_BACK_SCHEMECOLOR_INDEX_BRIGHTNESS" val="-0.25"/>
  <p:tag name="KSO_WM_UNIT_FILL_BACK_SCHEMECOLOR_INDEX" val="6"/>
  <p:tag name="KSO_WM_UNIT_FILL_TYPE" val="2"/>
  <p:tag name="KSO_WM_UNIT_LINE_FORE_SCHEMECOLOR_INDEX_BRIGHTNESS" val="-0.5"/>
  <p:tag name="KSO_WM_UNIT_LINE_FORE_SCHEMECOLOR_INDEX" val="6"/>
  <p:tag name="KSO_WM_UNIT_LINE_FILL_TYPE" val="2"/>
  <p:tag name="KSO_WM_UNIT_TEXT_FILL_FORE_SCHEMECOLOR_INDEX_BRIGHTNESS" val="0"/>
  <p:tag name="KSO_WM_UNIT_TEXT_FILL_FORE_SCHEMECOLOR_INDEX" val="2"/>
  <p:tag name="KSO_WM_UNIT_TEXT_FILL_TYPE" val="1"/>
</p:tagLst>
</file>

<file path=ppt/tags/tag643.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4.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5.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6.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7.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8.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49.xml><?xml version="1.0" encoding="utf-8"?>
<p:tagLst xmlns:p="http://schemas.openxmlformats.org/presentationml/2006/main">
  <p:tag name="KSO_WM_UNIT_FILL_FORE_SCHEMECOLOR_INDEX_BRIGHTNESS" val="-0.5"/>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6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50.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5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5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59.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6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6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6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66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0**"/>
  <p:tag name="KSO_WM_UNIT_LAYERLEVEL" val="1"/>
  <p:tag name="KSO_WM_TAG_VERSION" val="1.0"/>
  <p:tag name="KSO_WM_BEAUTIFY_FLAG" val="#wm#"/>
</p:tagLst>
</file>

<file path=ppt/tags/tag6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7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67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68.xml><?xml version="1.0" encoding="utf-8"?>
<p:tagLst xmlns:p="http://schemas.openxmlformats.org/presentationml/2006/main">
  <p:tag name="KSO_WM_TEMPLATE_THUMBS_INDEX" val="1、4、7、12、13、14、15、16、17、18、20、24、25、28、33、36、40、43、44"/>
  <p:tag name="KSO_WM_TEMPLATE_SUBCATEGORY" val="19"/>
  <p:tag name="KSO_WM_TAG_VERSION" val="1.0"/>
  <p:tag name="KSO_WM_BEAUTIFY_FLAG" val="#wm#"/>
  <p:tag name="KSO_WM_TEMPLATE_CATEGORY" val="custom"/>
  <p:tag name="KSO_WM_TEMPLATE_INDEX" val="20205081"/>
  <p:tag name="KSO_WM_TEMPLATE_MASTER_TYPE" val="0"/>
  <p:tag name="KSO_WM_TEMPLATE_COLOR_TYPE" val="1"/>
  <p:tag name="KSO_WM_UNIT_SHOW_EDIT_AREA_INDICATION" val="1"/>
</p:tagLst>
</file>

<file path=ppt/tags/tag68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8.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89.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xml><?xml version="1.0" encoding="utf-8"?>
<p:tagLst xmlns:p="http://schemas.openxmlformats.org/presentationml/2006/main">
  <p:tag name="KSO_WM_UNIT_FILL_FORE_SCHEMECOLOR_INDEX_BRIGHTNESS" val="-0.25"/>
  <p:tag name="KSO_WM_UNIT_FILL_FORE_SCHEMECOLOR_INDEX" val="7"/>
  <p:tag name="KSO_WM_UNIT_FILL_TYPE" val="1"/>
  <p:tag name="KSO_WM_UNIT_TEXT_FILL_FORE_SCHEMECOLOR_INDEX_BRIGHTNESS" val="-0.05"/>
  <p:tag name="KSO_WM_UNIT_TEXT_FILL_FORE_SCHEMECOLOR_INDEX" val="14"/>
  <p:tag name="KSO_WM_UNIT_TEXT_FILL_TYPE" val="1"/>
</p:tagLst>
</file>

<file path=ppt/tags/tag69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8.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699.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0.xml><?xml version="1.0" encoding="utf-8"?>
<p:tagLst xmlns:p="http://schemas.openxmlformats.org/presentationml/2006/main">
  <p:tag name="KSO_WM_UNIT_FILL_FORE_SCHEMECOLOR_INDEX_BRIGHTNESS" val="0"/>
  <p:tag name="KSO_WM_UNIT_FILL_FORE_SCHEMECOLOR_INDEX" val="8"/>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0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6.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7.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8.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09.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xml><?xml version="1.0" encoding="utf-8"?>
<p:tagLst xmlns:p="http://schemas.openxmlformats.org/presentationml/2006/main">
  <p:tag name="KSO_WM_UNIT_FILL_FORE_SCHEMECOLOR_INDEX_BRIGHTNESS" val="0"/>
  <p:tag name="KSO_WM_UNIT_FILL_FORE_SCHEMECOLOR_INDEX" val="9"/>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10.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1.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2.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3.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4.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5.xml><?xml version="1.0" encoding="utf-8"?>
<p:tagLst xmlns:p="http://schemas.openxmlformats.org/presentationml/2006/main">
  <p:tag name="KSO_WM_UNIT_FILL_FORE_SCHEMECOLOR_INDEX_BRIGHTNESS" val="0.4"/>
  <p:tag name="KSO_WM_UNIT_FILL_FORE_SCHEMECOLOR_INDEX" val="15"/>
  <p:tag name="KSO_WM_UNIT_FILL_TYPE" val="1"/>
  <p:tag name="KSO_WM_UNIT_LINE_FORE_SCHEMECOLOR_INDEX_BRIGHTNESS" val="0"/>
  <p:tag name="KSO_WM_UNIT_LINE_FORE_SCHEMECOLOR_INDEX" val="13"/>
  <p:tag name="KSO_WM_UNIT_LINE_FILL_TYPE" val="2"/>
  <p:tag name="KSO_WM_UNIT_TEXT_FILL_FORE_SCHEMECOLOR_INDEX_BRIGHTNESS" val="0"/>
  <p:tag name="KSO_WM_UNIT_TEXT_FILL_FORE_SCHEMECOLOR_INDEX" val="2"/>
  <p:tag name="KSO_WM_UNIT_TEXT_FILL_TYPE" val="1"/>
</p:tagLst>
</file>

<file path=ppt/tags/tag7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1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1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19.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2.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72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2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2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2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6.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37.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3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3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xml><?xml version="1.0" encoding="utf-8"?>
<p:tagLst xmlns:p="http://schemas.openxmlformats.org/presentationml/2006/main">
  <p:tag name="KSO_WM_SPECIAL_SOURCE" val="bdnull"/>
</p:tagLst>
</file>

<file path=ppt/tags/tag74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4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4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4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4.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55.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5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5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6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6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69.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3.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7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7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1.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2.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8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88.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794.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7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79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0.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5.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06.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80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0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2.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1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17.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818.xml><?xml version="1.0" encoding="utf-8"?>
<p:tagLst xmlns:p="http://schemas.openxmlformats.org/presentationml/2006/main">
  <p:tag name="KSO_WM_TEMPLATE_THUMBS_INDEX" val="1"/>
  <p:tag name="KSO_WM_SLIDE_ID" val="custom20187308_1"/>
  <p:tag name="KSO_WM_TEMPLATE_SUBCATEGORY" val="0"/>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187308"/>
  <p:tag name="KSO_WM_SLIDE_LAYOUT" val="a_b"/>
  <p:tag name="KSO_WM_SLIDE_LAYOUT_CNT" val="1_1"/>
</p:tagLst>
</file>

<file path=ppt/tags/tag819.xml><?xml version="1.0" encoding="utf-8"?>
<p:tagLst xmlns:p="http://schemas.openxmlformats.org/presentationml/2006/main">
  <p:tag name="KSO_WM_UNIT_ISCONTENTSTITLE" val="0"/>
  <p:tag name="KSO_WM_UNIT_ISNUMDGMTITLE" val="0"/>
  <p:tag name="KSO_WM_UNIT_NOCLEAR" val="1"/>
  <p:tag name="KSO_WM_UNIT_HIGHLIGHT" val="0"/>
  <p:tag name="KSO_WM_UNIT_COMPATIBLE" val="0"/>
  <p:tag name="KSO_WM_UNIT_DIAGRAM_ISNUMVISUAL" val="0"/>
  <p:tag name="KSO_WM_UNIT_DIAGRAM_ISREFERUNIT" val="0"/>
  <p:tag name="KSO_WM_UNIT_TYPE" val="a"/>
  <p:tag name="KSO_WM_UNIT_INDEX" val="1"/>
  <p:tag name="KSO_WM_UNIT_ID" val="custom20203621_34*a*1"/>
  <p:tag name="KSO_WM_TEMPLATE_CATEGORY" val="custom"/>
  <p:tag name="KSO_WM_TEMPLATE_INDEX" val="20203621"/>
  <p:tag name="KSO_WM_UNIT_LAYERLEVEL" val="1"/>
  <p:tag name="KSO_WM_TAG_VERSION" val="1.0"/>
  <p:tag name="KSO_WM_BEAUTIFY_FLAG" val="#wm#"/>
  <p:tag name="KSO_WM_UNIT_PRESET_TEXT" val="感谢观看"/>
</p:tagLst>
</file>

<file path=ppt/tags/tag8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20.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821.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25"/>
  <p:tag name="KSO_WM_UNIT_TEXT_FILL_FORE_SCHEMECOLOR_INDEX" val="9"/>
  <p:tag name="KSO_WM_UNIT_TEXT_FILL_TYPE" val="1"/>
</p:tagLst>
</file>

<file path=ppt/tags/tag822.xml><?xml version="1.0" encoding="utf-8"?>
<p:tagLst xmlns:p="http://schemas.openxmlformats.org/presentationml/2006/main">
  <p:tag name="KSO_WM_UNIT_TEXT_FILL_FORE_SCHEMECOLOR_INDEX_BRIGHTNESS" val="-0.25"/>
  <p:tag name="KSO_WM_UNIT_TEXT_FILL_FORE_SCHEMECOLOR_INDEX" val="9"/>
  <p:tag name="KSO_WM_UNIT_TEXT_FILL_TYPE" val="1"/>
</p:tagLst>
</file>

<file path=ppt/tags/tag823.xml><?xml version="1.0" encoding="utf-8"?>
<p:tagLst xmlns:p="http://schemas.openxmlformats.org/presentationml/2006/main">
  <p:tag name="KSO_WM_SLIDE_ID" val="custom20203621_34"/>
  <p:tag name="KSO_WM_TEMPLATE_SUBCATEGORY" val="0"/>
  <p:tag name="KSO_WM_TEMPLATE_MASTER_TYPE" val="1"/>
  <p:tag name="KSO_WM_TEMPLATE_COLOR_TYPE" val="1"/>
  <p:tag name="KSO_WM_SLIDE_TYPE" val="endPage"/>
  <p:tag name="KSO_WM_SLIDE_SUBTYPE" val="pureTxt"/>
  <p:tag name="KSO_WM_SLIDE_ITEM_CNT" val="0"/>
  <p:tag name="KSO_WM_SLIDE_INDEX" val="34"/>
  <p:tag name="KSO_WM_TAG_VERSION" val="1.0"/>
  <p:tag name="KSO_WM_BEAUTIFY_FLAG" val="#wm#"/>
  <p:tag name="KSO_WM_TEMPLATE_CATEGORY" val="custom"/>
  <p:tag name="KSO_WM_TEMPLATE_INDEX" val="20203621"/>
  <p:tag name="KSO_WM_SLIDE_LAYOUT" val="a_b"/>
  <p:tag name="KSO_WM_SLIDE_LAYOUT_CNT" val="1_1"/>
  <p:tag name="KSO_WM_SPECIAL_SOURCE" val="bdnull"/>
</p:tagLst>
</file>

<file path=ppt/tags/tag824.xml><?xml version="1.0" encoding="utf-8"?>
<p:tagLst xmlns:p="http://schemas.openxmlformats.org/presentationml/2006/main">
  <p:tag name="KSO_WPP_MARK_KEY" val="8d02a20e-a318-40ea-8880-487629a07252"/>
  <p:tag name="COMMONDATA" val="eyJoZGlkIjoiZDYyZWEzMGEyOTgzNjMyODIwYmE0OTZmMjRkNDUyMDEifQ=="/>
  <p:tag name="commondata" val="eyJoZGlkIjoiZTVlNmE2ZmI1ZjYwNzY0MzcxMzc3ZmQ0YThkN2JhMWYifQ=="/>
</p:tagLst>
</file>

<file path=ppt/tags/tag8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8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90.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1.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2.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3.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4.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5.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6.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7.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8.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ags/tag99.xml><?xml version="1.0" encoding="utf-8"?>
<p:tagLst xmlns:p="http://schemas.openxmlformats.org/presentationml/2006/main">
  <p:tag name="KSO_WM_UNIT_TEXT_FILL_FORE_SCHEMECOLOR_INDEX_BRIGHTNESS" val="0"/>
  <p:tag name="KSO_WM_UNIT_TEXT_FILL_FORE_SCHEMECOLOR_INDEX" val="2"/>
  <p:tag name="KSO_WM_UNIT_TEXT_FILL_TYPE" val="1"/>
</p:tagLst>
</file>

<file path=ppt/theme/theme1.xml><?xml version="1.0" encoding="utf-8"?>
<a:theme xmlns:a="http://schemas.openxmlformats.org/drawingml/2006/main" name="免费资料关注公众号:安全生产管理">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微软雅黑"/>
        <a:ea typeface="微软雅黑"/>
        <a:cs typeface="微软雅黑"/>
        <a:font script="Jpan" typeface="ＭＳ Ｐゴシック"/>
        <a:font script="Hang" typeface="맑은 고딕"/>
        <a:font script="Hans" typeface="微软雅黑"/>
        <a:font script="Hant" typeface="新細明體"/>
        <a:font script="Arab" typeface="微软雅黑"/>
        <a:font script="Hebr" typeface="微软雅黑"/>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ajorFont>
      <a:minorFont>
        <a:latin typeface="微软雅黑"/>
        <a:ea typeface="微软雅黑"/>
        <a:cs typeface="微软雅黑"/>
        <a:font script="Jpan" typeface="ＭＳ Ｐゴシック"/>
        <a:font script="Hang" typeface="맑은 고딕"/>
        <a:font script="Hans" typeface="微软雅黑"/>
        <a:font script="Hant" typeface="新細明體"/>
        <a:font script="Arab" typeface="微软雅黑"/>
        <a:font script="Hebr" typeface="微软雅黑"/>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0">
  <a:themeElements>
    <a:clrScheme name="自定义 2096">
      <a:dk1>
        <a:sysClr val="windowText" lastClr="000000"/>
      </a:dk1>
      <a:lt1>
        <a:sysClr val="window" lastClr="FFFFFF"/>
      </a:lt1>
      <a:dk2>
        <a:srgbClr val="44546A"/>
      </a:dk2>
      <a:lt2>
        <a:srgbClr val="E7E6E6"/>
      </a:lt2>
      <a:accent1>
        <a:srgbClr val="64ACB2"/>
      </a:accent1>
      <a:accent2>
        <a:srgbClr val="D2506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微软雅黑"/>
        <a:ea typeface="微软雅黑"/>
        <a:cs typeface="微软雅黑"/>
        <a:font script="Jpan" typeface="游ゴシック Light"/>
        <a:font script="Hang" typeface="맑은 고딕"/>
        <a:font script="Hans" typeface="微软雅黑"/>
        <a:font script="Hant" typeface="新細明體"/>
        <a:font script="Arab" typeface="微软雅黑"/>
        <a:font script="Hebr" typeface="微软雅黑"/>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ajorFont>
      <a:minorFont>
        <a:latin typeface="微软雅黑"/>
        <a:ea typeface="微软雅黑"/>
        <a:cs typeface="微软雅黑"/>
        <a:font script="Jpan" typeface="游ゴシック"/>
        <a:font script="Hang" typeface="맑은 고딕"/>
        <a:font script="Hans" typeface="微软雅黑"/>
        <a:font script="Hant" typeface="新細明體"/>
        <a:font script="Arab" typeface="微软雅黑"/>
        <a:font script="Hebr" typeface="微软雅黑"/>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微软雅黑"/>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免费资料关注公众号:安全生产管理 ">
  <a:themeElements>
    <a:clrScheme name="新版空白演示配色">
      <a:dk1>
        <a:srgbClr val="000000"/>
      </a:dk1>
      <a:lt1>
        <a:srgbClr val="FFFFFF"/>
      </a:lt1>
      <a:dk2>
        <a:srgbClr val="0F1423"/>
      </a:dk2>
      <a:lt2>
        <a:srgbClr val="FFFFFF"/>
      </a:lt2>
      <a:accent1>
        <a:srgbClr val="6096E6"/>
      </a:accent1>
      <a:accent2>
        <a:srgbClr val="58B6E5"/>
      </a:accent2>
      <a:accent3>
        <a:srgbClr val="56CA95"/>
      </a:accent3>
      <a:accent4>
        <a:srgbClr val="FFBA55"/>
      </a:accent4>
      <a:accent5>
        <a:srgbClr val="F18870"/>
      </a:accent5>
      <a:accent6>
        <a:srgbClr val="EC5F74"/>
      </a:accent6>
      <a:hlink>
        <a:srgbClr val="0563C1"/>
      </a:hlink>
      <a:folHlink>
        <a:srgbClr val="954D72"/>
      </a:folHlink>
    </a:clrScheme>
    <a:fontScheme name="自定义 9">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8733</Words>
  <Application>WPS 演示</Application>
  <PresentationFormat>宽屏</PresentationFormat>
  <Paragraphs>368</Paragraphs>
  <Slides>42</Slides>
  <Notes>39</Notes>
  <HiddenSlides>0</HiddenSlides>
  <MMClips>0</MMClips>
  <ScaleCrop>false</ScaleCrop>
  <HeadingPairs>
    <vt:vector size="6" baseType="variant">
      <vt:variant>
        <vt:lpstr>已用的字体</vt:lpstr>
      </vt:variant>
      <vt:variant>
        <vt:i4>9</vt:i4>
      </vt:variant>
      <vt:variant>
        <vt:lpstr>主题</vt:lpstr>
      </vt:variant>
      <vt:variant>
        <vt:i4>3</vt:i4>
      </vt:variant>
      <vt:variant>
        <vt:lpstr>幻灯片标题</vt:lpstr>
      </vt:variant>
      <vt:variant>
        <vt:i4>42</vt:i4>
      </vt:variant>
    </vt:vector>
  </HeadingPairs>
  <TitlesOfParts>
    <vt:vector size="54" baseType="lpstr">
      <vt:lpstr>Arial</vt:lpstr>
      <vt:lpstr>宋体</vt:lpstr>
      <vt:lpstr>Wingdings</vt:lpstr>
      <vt:lpstr>微软雅黑</vt:lpstr>
      <vt:lpstr>Wingdings</vt:lpstr>
      <vt:lpstr>Arial Unicode MS</vt:lpstr>
      <vt:lpstr>楷体</vt:lpstr>
      <vt:lpstr>汉仪旗黑-85S</vt:lpstr>
      <vt:lpstr>黑体</vt:lpstr>
      <vt:lpstr>免费资料关注公众号:安全生产管理</vt:lpstr>
      <vt:lpstr>0</vt:lpstr>
      <vt:lpstr>免费资料关注公众号:安全生产管理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感谢聆听</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免费资料关注公众号:安全生产管理</dc:title>
  <dc:creator>免费资料关注公众号:安全生产管理</dc:creator>
  <cp:keywords>免费资料关注公众号:安全生产管理</cp:keywords>
  <dc:description>海量安全资料加入知识星球:安全精品资料库</dc:description>
  <dc:subject>海量安全资料加入知识星球:安全精品资料库</dc:subject>
  <cp:category>免费资料关注公众号:安全生产管理</cp:category>
  <cp:lastModifiedBy>little fairy</cp:lastModifiedBy>
  <cp:revision>9</cp:revision>
  <dcterms:created xsi:type="dcterms:W3CDTF">2020-11-01T09:02:00Z</dcterms:created>
  <dcterms:modified xsi:type="dcterms:W3CDTF">2024-06-12T03:5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6929</vt:lpwstr>
  </property>
  <property fmtid="{D5CDD505-2E9C-101B-9397-08002B2CF9AE}" pid="3" name="ICV">
    <vt:lpwstr>FA0DE1695C1B44E8A0D1A85E68EA43A5_13</vt:lpwstr>
  </property>
</Properties>
</file>